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sldIdLst>
    <p:sldId id="256" r:id="rId2"/>
    <p:sldId id="270" r:id="rId3"/>
    <p:sldId id="267" r:id="rId4"/>
    <p:sldId id="271" r:id="rId5"/>
    <p:sldId id="263" r:id="rId6"/>
    <p:sldId id="265" r:id="rId7"/>
  </p:sldIdLst>
  <p:sldSz cx="12192000"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7976A2-0A83-4699-B5A0-9D4751CE65AC}" v="27" dt="2023-05-23T21:54:31.5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381" autoAdjust="0"/>
    <p:restoredTop sz="96601" autoAdjust="0"/>
  </p:normalViewPr>
  <p:slideViewPr>
    <p:cSldViewPr snapToGrid="0">
      <p:cViewPr>
        <p:scale>
          <a:sx n="75" d="100"/>
          <a:sy n="75" d="100"/>
        </p:scale>
        <p:origin x="608" y="-2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tina Kreiner" userId="d4347760-2312-4683-86e4-78b872516c56" providerId="ADAL" clId="{975CAAB4-E16E-454E-B46F-4FCD7D06DBA9}"/>
    <pc:docChg chg="custSel modSld">
      <pc:chgData name="Kristina Kreiner" userId="d4347760-2312-4683-86e4-78b872516c56" providerId="ADAL" clId="{975CAAB4-E16E-454E-B46F-4FCD7D06DBA9}" dt="2023-03-02T17:06:50.249" v="237" actId="20577"/>
      <pc:docMkLst>
        <pc:docMk/>
      </pc:docMkLst>
      <pc:sldChg chg="modSp mod">
        <pc:chgData name="Kristina Kreiner" userId="d4347760-2312-4683-86e4-78b872516c56" providerId="ADAL" clId="{975CAAB4-E16E-454E-B46F-4FCD7D06DBA9}" dt="2023-03-02T17:06:50.249" v="237" actId="20577"/>
        <pc:sldMkLst>
          <pc:docMk/>
          <pc:sldMk cId="2586145259" sldId="267"/>
        </pc:sldMkLst>
        <pc:spChg chg="mod">
          <ac:chgData name="Kristina Kreiner" userId="d4347760-2312-4683-86e4-78b872516c56" providerId="ADAL" clId="{975CAAB4-E16E-454E-B46F-4FCD7D06DBA9}" dt="2023-03-02T17:06:50.249" v="237" actId="20577"/>
          <ac:spMkLst>
            <pc:docMk/>
            <pc:sldMk cId="2586145259" sldId="267"/>
            <ac:spMk id="3" creationId="{6282C974-FD44-474D-94C5-5CA674EEA2B1}"/>
          </ac:spMkLst>
        </pc:spChg>
      </pc:sldChg>
      <pc:sldChg chg="modSp mod">
        <pc:chgData name="Kristina Kreiner" userId="d4347760-2312-4683-86e4-78b872516c56" providerId="ADAL" clId="{975CAAB4-E16E-454E-B46F-4FCD7D06DBA9}" dt="2023-03-02T16:47:28.736" v="0" actId="6549"/>
        <pc:sldMkLst>
          <pc:docMk/>
          <pc:sldMk cId="2274033512" sldId="270"/>
        </pc:sldMkLst>
        <pc:spChg chg="mod">
          <ac:chgData name="Kristina Kreiner" userId="d4347760-2312-4683-86e4-78b872516c56" providerId="ADAL" clId="{975CAAB4-E16E-454E-B46F-4FCD7D06DBA9}" dt="2023-03-02T16:47:28.736" v="0" actId="6549"/>
          <ac:spMkLst>
            <pc:docMk/>
            <pc:sldMk cId="2274033512" sldId="270"/>
            <ac:spMk id="3" creationId="{13171919-189F-4882-B2F3-9DA020B1F8B9}"/>
          </ac:spMkLst>
        </pc:spChg>
      </pc:sldChg>
    </pc:docChg>
  </pc:docChgLst>
  <pc:docChgLst>
    <pc:chgData name="Kristina Kreiner" userId="d4347760-2312-4683-86e4-78b872516c56" providerId="ADAL" clId="{B9D3BF1A-5CCB-40EA-8C77-837620F228FE}"/>
    <pc:docChg chg="undo custSel modSld modMainMaster replTag">
      <pc:chgData name="Kristina Kreiner" userId="d4347760-2312-4683-86e4-78b872516c56" providerId="ADAL" clId="{B9D3BF1A-5CCB-40EA-8C77-837620F228FE}" dt="2023-02-16T14:53:16.446" v="2331" actId="20577"/>
      <pc:docMkLst>
        <pc:docMk/>
      </pc:docMkLst>
      <pc:sldChg chg="addSp delSp modSp mod">
        <pc:chgData name="Kristina Kreiner" userId="d4347760-2312-4683-86e4-78b872516c56" providerId="ADAL" clId="{B9D3BF1A-5CCB-40EA-8C77-837620F228FE}" dt="2023-02-16T14:51:52.693" v="1700" actId="1076"/>
        <pc:sldMkLst>
          <pc:docMk/>
          <pc:sldMk cId="2308805883" sldId="256"/>
        </pc:sldMkLst>
        <pc:spChg chg="mod">
          <ac:chgData name="Kristina Kreiner" userId="d4347760-2312-4683-86e4-78b872516c56" providerId="ADAL" clId="{B9D3BF1A-5CCB-40EA-8C77-837620F228FE}" dt="2023-02-16T14:51:49.079" v="1626" actId="948"/>
          <ac:spMkLst>
            <pc:docMk/>
            <pc:sldMk cId="2308805883" sldId="256"/>
            <ac:spMk id="2" creationId="{E268F853-E3CD-4E35-8804-A5CA0FF3CC17}"/>
          </ac:spMkLst>
        </pc:spChg>
        <pc:spChg chg="add del mod modVis">
          <ac:chgData name="Kristina Kreiner" userId="d4347760-2312-4683-86e4-78b872516c56" providerId="ADAL" clId="{B9D3BF1A-5CCB-40EA-8C77-837620F228FE}" dt="2023-02-16T14:50:41.800" v="110"/>
          <ac:spMkLst>
            <pc:docMk/>
            <pc:sldMk cId="2308805883" sldId="256"/>
            <ac:spMk id="3" creationId="{5E909FDF-0BCA-40DB-8CCA-CAD0E31FBF49}"/>
          </ac:spMkLst>
        </pc:spChg>
        <pc:spChg chg="add del mod modVis">
          <ac:chgData name="Kristina Kreiner" userId="d4347760-2312-4683-86e4-78b872516c56" providerId="ADAL" clId="{B9D3BF1A-5CCB-40EA-8C77-837620F228FE}" dt="2023-02-16T14:50:45.237" v="287" actId="962"/>
          <ac:spMkLst>
            <pc:docMk/>
            <pc:sldMk cId="2308805883" sldId="256"/>
            <ac:spMk id="5" creationId="{CA9C0656-7E20-45C2-805F-216A21A513B4}"/>
          </ac:spMkLst>
        </pc:spChg>
        <pc:spChg chg="add del mod modVis">
          <ac:chgData name="Kristina Kreiner" userId="d4347760-2312-4683-86e4-78b872516c56" providerId="ADAL" clId="{B9D3BF1A-5CCB-40EA-8C77-837620F228FE}" dt="2023-02-16T14:50:46.969" v="364"/>
          <ac:spMkLst>
            <pc:docMk/>
            <pc:sldMk cId="2308805883" sldId="256"/>
            <ac:spMk id="6" creationId="{1D52891E-99C1-48CB-8113-6E7DCDFA8F1D}"/>
          </ac:spMkLst>
        </pc:spChg>
        <pc:spChg chg="add del mod modVis">
          <ac:chgData name="Kristina Kreiner" userId="d4347760-2312-4683-86e4-78b872516c56" providerId="ADAL" clId="{B9D3BF1A-5CCB-40EA-8C77-837620F228FE}" dt="2023-02-16T14:50:47.538" v="438"/>
          <ac:spMkLst>
            <pc:docMk/>
            <pc:sldMk cId="2308805883" sldId="256"/>
            <ac:spMk id="7" creationId="{FBE7B86F-13F4-4531-822D-B29934830550}"/>
          </ac:spMkLst>
        </pc:spChg>
        <pc:spChg chg="add del mod modVis">
          <ac:chgData name="Kristina Kreiner" userId="d4347760-2312-4683-86e4-78b872516c56" providerId="ADAL" clId="{B9D3BF1A-5CCB-40EA-8C77-837620F228FE}" dt="2023-02-16T14:50:51.331" v="513"/>
          <ac:spMkLst>
            <pc:docMk/>
            <pc:sldMk cId="2308805883" sldId="256"/>
            <ac:spMk id="8" creationId="{6608FFF5-BBBD-4123-A1DD-3FA972629046}"/>
          </ac:spMkLst>
        </pc:spChg>
        <pc:spChg chg="add del mod modVis">
          <ac:chgData name="Kristina Kreiner" userId="d4347760-2312-4683-86e4-78b872516c56" providerId="ADAL" clId="{B9D3BF1A-5CCB-40EA-8C77-837620F228FE}" dt="2023-02-16T14:50:56.833" v="604"/>
          <ac:spMkLst>
            <pc:docMk/>
            <pc:sldMk cId="2308805883" sldId="256"/>
            <ac:spMk id="9" creationId="{3AF8C226-FA2B-49DE-BC7E-89B8AD1FB6BC}"/>
          </ac:spMkLst>
        </pc:spChg>
        <pc:spChg chg="add del mod modVis">
          <ac:chgData name="Kristina Kreiner" userId="d4347760-2312-4683-86e4-78b872516c56" providerId="ADAL" clId="{B9D3BF1A-5CCB-40EA-8C77-837620F228FE}" dt="2023-02-16T14:50:58.914" v="685"/>
          <ac:spMkLst>
            <pc:docMk/>
            <pc:sldMk cId="2308805883" sldId="256"/>
            <ac:spMk id="10" creationId="{D9599597-0639-48AF-9060-99F855F9E3AF}"/>
          </ac:spMkLst>
        </pc:spChg>
        <pc:spChg chg="add del mod modVis">
          <ac:chgData name="Kristina Kreiner" userId="d4347760-2312-4683-86e4-78b872516c56" providerId="ADAL" clId="{B9D3BF1A-5CCB-40EA-8C77-837620F228FE}" dt="2023-02-16T14:50:59.893" v="760"/>
          <ac:spMkLst>
            <pc:docMk/>
            <pc:sldMk cId="2308805883" sldId="256"/>
            <ac:spMk id="11" creationId="{11E35B67-E214-4AB9-8656-3C451E4F56B3}"/>
          </ac:spMkLst>
        </pc:spChg>
        <pc:spChg chg="add del mod modVis">
          <ac:chgData name="Kristina Kreiner" userId="d4347760-2312-4683-86e4-78b872516c56" providerId="ADAL" clId="{B9D3BF1A-5CCB-40EA-8C77-837620F228FE}" dt="2023-02-16T14:51:02.184" v="838"/>
          <ac:spMkLst>
            <pc:docMk/>
            <pc:sldMk cId="2308805883" sldId="256"/>
            <ac:spMk id="12" creationId="{311AFDB1-3011-4F39-9D27-63743F7DB025}"/>
          </ac:spMkLst>
        </pc:spChg>
        <pc:spChg chg="add del mod modVis">
          <ac:chgData name="Kristina Kreiner" userId="d4347760-2312-4683-86e4-78b872516c56" providerId="ADAL" clId="{B9D3BF1A-5CCB-40EA-8C77-837620F228FE}" dt="2023-02-16T14:51:04.236" v="917"/>
          <ac:spMkLst>
            <pc:docMk/>
            <pc:sldMk cId="2308805883" sldId="256"/>
            <ac:spMk id="13" creationId="{F1503A36-A406-44EF-A023-F433E31F1D59}"/>
          </ac:spMkLst>
        </pc:spChg>
        <pc:spChg chg="add del mod modVis">
          <ac:chgData name="Kristina Kreiner" userId="d4347760-2312-4683-86e4-78b872516c56" providerId="ADAL" clId="{B9D3BF1A-5CCB-40EA-8C77-837620F228FE}" dt="2023-02-16T14:51:05.462" v="995"/>
          <ac:spMkLst>
            <pc:docMk/>
            <pc:sldMk cId="2308805883" sldId="256"/>
            <ac:spMk id="14" creationId="{F4FEA530-A04F-4D8A-A0F0-06A4FB176634}"/>
          </ac:spMkLst>
        </pc:spChg>
        <pc:spChg chg="add del mod modVis">
          <ac:chgData name="Kristina Kreiner" userId="d4347760-2312-4683-86e4-78b872516c56" providerId="ADAL" clId="{B9D3BF1A-5CCB-40EA-8C77-837620F228FE}" dt="2023-02-16T14:51:06.483" v="1069"/>
          <ac:spMkLst>
            <pc:docMk/>
            <pc:sldMk cId="2308805883" sldId="256"/>
            <ac:spMk id="15" creationId="{F1B13B06-5890-40A8-8EF9-01EC318B8F02}"/>
          </ac:spMkLst>
        </pc:spChg>
        <pc:spChg chg="add del mod modVis">
          <ac:chgData name="Kristina Kreiner" userId="d4347760-2312-4683-86e4-78b872516c56" providerId="ADAL" clId="{B9D3BF1A-5CCB-40EA-8C77-837620F228FE}" dt="2023-02-16T14:51:23.249" v="1147"/>
          <ac:spMkLst>
            <pc:docMk/>
            <pc:sldMk cId="2308805883" sldId="256"/>
            <ac:spMk id="16" creationId="{00115456-BD0E-450F-965B-9FB9DDE25C34}"/>
          </ac:spMkLst>
        </pc:spChg>
        <pc:spChg chg="add del mod modVis">
          <ac:chgData name="Kristina Kreiner" userId="d4347760-2312-4683-86e4-78b872516c56" providerId="ADAL" clId="{B9D3BF1A-5CCB-40EA-8C77-837620F228FE}" dt="2023-02-16T14:51:24.819" v="1226"/>
          <ac:spMkLst>
            <pc:docMk/>
            <pc:sldMk cId="2308805883" sldId="256"/>
            <ac:spMk id="17" creationId="{48A27E9D-3914-454B-A01D-5CA7721F5B4F}"/>
          </ac:spMkLst>
        </pc:spChg>
        <pc:spChg chg="add del mod modVis">
          <ac:chgData name="Kristina Kreiner" userId="d4347760-2312-4683-86e4-78b872516c56" providerId="ADAL" clId="{B9D3BF1A-5CCB-40EA-8C77-837620F228FE}" dt="2023-02-16T14:51:25.571" v="1301"/>
          <ac:spMkLst>
            <pc:docMk/>
            <pc:sldMk cId="2308805883" sldId="256"/>
            <ac:spMk id="18" creationId="{C5851C9F-540C-4BFC-9830-E9D28974737D}"/>
          </ac:spMkLst>
        </pc:spChg>
        <pc:spChg chg="add del mod modVis">
          <ac:chgData name="Kristina Kreiner" userId="d4347760-2312-4683-86e4-78b872516c56" providerId="ADAL" clId="{B9D3BF1A-5CCB-40EA-8C77-837620F228FE}" dt="2023-02-16T14:51:26.675" v="1377"/>
          <ac:spMkLst>
            <pc:docMk/>
            <pc:sldMk cId="2308805883" sldId="256"/>
            <ac:spMk id="19" creationId="{70044F23-D0F6-4BBC-AFEB-9B60439BB293}"/>
          </ac:spMkLst>
        </pc:spChg>
        <pc:spChg chg="add del mod modVis">
          <ac:chgData name="Kristina Kreiner" userId="d4347760-2312-4683-86e4-78b872516c56" providerId="ADAL" clId="{B9D3BF1A-5CCB-40EA-8C77-837620F228FE}" dt="2023-02-16T14:51:29.547" v="1463"/>
          <ac:spMkLst>
            <pc:docMk/>
            <pc:sldMk cId="2308805883" sldId="256"/>
            <ac:spMk id="20" creationId="{4C0208DC-1290-454C-A49C-647896E4585E}"/>
          </ac:spMkLst>
        </pc:spChg>
        <pc:spChg chg="add del mod modVis">
          <ac:chgData name="Kristina Kreiner" userId="d4347760-2312-4683-86e4-78b872516c56" providerId="ADAL" clId="{B9D3BF1A-5CCB-40EA-8C77-837620F228FE}" dt="2023-02-16T14:51:37.009" v="1547"/>
          <ac:spMkLst>
            <pc:docMk/>
            <pc:sldMk cId="2308805883" sldId="256"/>
            <ac:spMk id="21" creationId="{A72F6D64-F3A8-4750-A70F-6F61A9CC12EF}"/>
          </ac:spMkLst>
        </pc:spChg>
        <pc:spChg chg="add del mod modVis">
          <ac:chgData name="Kristina Kreiner" userId="d4347760-2312-4683-86e4-78b872516c56" providerId="ADAL" clId="{B9D3BF1A-5CCB-40EA-8C77-837620F228FE}" dt="2023-02-16T14:51:37.829" v="1621"/>
          <ac:spMkLst>
            <pc:docMk/>
            <pc:sldMk cId="2308805883" sldId="256"/>
            <ac:spMk id="22" creationId="{21C30587-DCC0-49AF-96EE-643BDFB0B58F}"/>
          </ac:spMkLst>
        </pc:spChg>
        <pc:spChg chg="add del mod modVis">
          <ac:chgData name="Kristina Kreiner" userId="d4347760-2312-4683-86e4-78b872516c56" providerId="ADAL" clId="{B9D3BF1A-5CCB-40EA-8C77-837620F228FE}" dt="2023-02-16T14:51:49.131" v="1696"/>
          <ac:spMkLst>
            <pc:docMk/>
            <pc:sldMk cId="2308805883" sldId="256"/>
            <ac:spMk id="23" creationId="{EB3EE512-FCB5-45DA-8627-C3664C45E2D4}"/>
          </ac:spMkLst>
        </pc:spChg>
        <pc:graphicFrameChg chg="add mod ord modVis replST">
          <ac:chgData name="Kristina Kreiner" userId="d4347760-2312-4683-86e4-78b872516c56" providerId="ADAL" clId="{B9D3BF1A-5CCB-40EA-8C77-837620F228FE}" dt="2023-02-16T14:51:49.131" v="1698"/>
          <ac:graphicFrameMkLst>
            <pc:docMk/>
            <pc:sldMk cId="2308805883" sldId="256"/>
            <ac:graphicFrameMk id="4" creationId="{3C9692C1-D3CA-4E79-A20C-55E7D5659E46}"/>
          </ac:graphicFrameMkLst>
        </pc:graphicFrameChg>
        <pc:picChg chg="mod">
          <ac:chgData name="Kristina Kreiner" userId="d4347760-2312-4683-86e4-78b872516c56" providerId="ADAL" clId="{B9D3BF1A-5CCB-40EA-8C77-837620F228FE}" dt="2023-02-16T14:51:52.693" v="1700" actId="1076"/>
          <ac:picMkLst>
            <pc:docMk/>
            <pc:sldMk cId="2308805883" sldId="256"/>
            <ac:picMk id="1026" creationId="{6F5BAF6E-1A32-40FB-9510-266B32767833}"/>
          </ac:picMkLst>
        </pc:picChg>
      </pc:sldChg>
      <pc:sldChg chg="modSp mod">
        <pc:chgData name="Kristina Kreiner" userId="d4347760-2312-4683-86e4-78b872516c56" providerId="ADAL" clId="{B9D3BF1A-5CCB-40EA-8C77-837620F228FE}" dt="2023-02-16T14:52:21.624" v="1704" actId="207"/>
        <pc:sldMkLst>
          <pc:docMk/>
          <pc:sldMk cId="683531858" sldId="259"/>
        </pc:sldMkLst>
        <pc:spChg chg="mod">
          <ac:chgData name="Kristina Kreiner" userId="d4347760-2312-4683-86e4-78b872516c56" providerId="ADAL" clId="{B9D3BF1A-5CCB-40EA-8C77-837620F228FE}" dt="2023-02-16T14:52:21.624" v="1704" actId="207"/>
          <ac:spMkLst>
            <pc:docMk/>
            <pc:sldMk cId="683531858" sldId="259"/>
            <ac:spMk id="3" creationId="{56C9A28C-4357-416A-8568-2108B8FBA384}"/>
          </ac:spMkLst>
        </pc:spChg>
      </pc:sldChg>
      <pc:sldChg chg="addSp delSp modSp mod">
        <pc:chgData name="Kristina Kreiner" userId="d4347760-2312-4683-86e4-78b872516c56" providerId="ADAL" clId="{B9D3BF1A-5CCB-40EA-8C77-837620F228FE}" dt="2023-02-16T14:52:38.489" v="1911"/>
        <pc:sldMkLst>
          <pc:docMk/>
          <pc:sldMk cId="1134446393" sldId="261"/>
        </pc:sldMkLst>
        <pc:spChg chg="mod">
          <ac:chgData name="Kristina Kreiner" userId="d4347760-2312-4683-86e4-78b872516c56" providerId="ADAL" clId="{B9D3BF1A-5CCB-40EA-8C77-837620F228FE}" dt="2023-02-16T14:52:38.445" v="1850" actId="948"/>
          <ac:spMkLst>
            <pc:docMk/>
            <pc:sldMk cId="1134446393" sldId="261"/>
            <ac:spMk id="2" creationId="{39E4CC24-8361-4FC8-B060-107420CAB322}"/>
          </ac:spMkLst>
        </pc:spChg>
        <pc:spChg chg="add del mod modVis">
          <ac:chgData name="Kristina Kreiner" userId="d4347760-2312-4683-86e4-78b872516c56" providerId="ADAL" clId="{B9D3BF1A-5CCB-40EA-8C77-837620F228FE}" dt="2023-02-16T14:52:34.580" v="1767"/>
          <ac:spMkLst>
            <pc:docMk/>
            <pc:sldMk cId="1134446393" sldId="261"/>
            <ac:spMk id="3" creationId="{E03EA0EA-B595-453A-89F8-894F7E58242F}"/>
          </ac:spMkLst>
        </pc:spChg>
        <pc:spChg chg="add del mod modVis">
          <ac:chgData name="Kristina Kreiner" userId="d4347760-2312-4683-86e4-78b872516c56" providerId="ADAL" clId="{B9D3BF1A-5CCB-40EA-8C77-837620F228FE}" dt="2023-02-16T14:52:37.003" v="1844"/>
          <ac:spMkLst>
            <pc:docMk/>
            <pc:sldMk cId="1134446393" sldId="261"/>
            <ac:spMk id="5" creationId="{1A93975B-2C41-4CD9-B69E-4C63A95F8873}"/>
          </ac:spMkLst>
        </pc:spChg>
        <pc:spChg chg="add del mod modVis">
          <ac:chgData name="Kristina Kreiner" userId="d4347760-2312-4683-86e4-78b872516c56" providerId="ADAL" clId="{B9D3BF1A-5CCB-40EA-8C77-837620F228FE}" dt="2023-02-16T14:52:38.489" v="1909"/>
          <ac:spMkLst>
            <pc:docMk/>
            <pc:sldMk cId="1134446393" sldId="261"/>
            <ac:spMk id="7" creationId="{54114A5D-2A64-48B8-A77F-7D6E232AC3CD}"/>
          </ac:spMkLst>
        </pc:spChg>
        <pc:graphicFrameChg chg="add mod ord modVis replST">
          <ac:chgData name="Kristina Kreiner" userId="d4347760-2312-4683-86e4-78b872516c56" providerId="ADAL" clId="{B9D3BF1A-5CCB-40EA-8C77-837620F228FE}" dt="2023-02-16T14:52:38.489" v="1911"/>
          <ac:graphicFrameMkLst>
            <pc:docMk/>
            <pc:sldMk cId="1134446393" sldId="261"/>
            <ac:graphicFrameMk id="4" creationId="{7B3EEF2C-28EC-4D6D-8CB0-AEA18F957EA6}"/>
          </ac:graphicFrameMkLst>
        </pc:graphicFrameChg>
        <pc:picChg chg="del">
          <ac:chgData name="Kristina Kreiner" userId="d4347760-2312-4683-86e4-78b872516c56" providerId="ADAL" clId="{B9D3BF1A-5CCB-40EA-8C77-837620F228FE}" dt="2023-02-16T14:52:27.992" v="1705" actId="478"/>
          <ac:picMkLst>
            <pc:docMk/>
            <pc:sldMk cId="1134446393" sldId="261"/>
            <ac:picMk id="6" creationId="{2D42AF3A-587A-4482-836B-06ED9BE1F1A2}"/>
          </ac:picMkLst>
        </pc:picChg>
      </pc:sldChg>
      <pc:sldChg chg="modSp mod">
        <pc:chgData name="Kristina Kreiner" userId="d4347760-2312-4683-86e4-78b872516c56" providerId="ADAL" clId="{B9D3BF1A-5CCB-40EA-8C77-837620F228FE}" dt="2023-02-16T14:53:16.446" v="2331" actId="20577"/>
        <pc:sldMkLst>
          <pc:docMk/>
          <pc:sldMk cId="2541863669" sldId="263"/>
        </pc:sldMkLst>
        <pc:spChg chg="mod">
          <ac:chgData name="Kristina Kreiner" userId="d4347760-2312-4683-86e4-78b872516c56" providerId="ADAL" clId="{B9D3BF1A-5CCB-40EA-8C77-837620F228FE}" dt="2023-02-16T14:53:16.446" v="2331" actId="20577"/>
          <ac:spMkLst>
            <pc:docMk/>
            <pc:sldMk cId="2541863669" sldId="263"/>
            <ac:spMk id="3" creationId="{F3083072-FE60-43FA-91CA-E73C3D6B3238}"/>
          </ac:spMkLst>
        </pc:spChg>
      </pc:sldChg>
      <pc:sldChg chg="modSp mod">
        <pc:chgData name="Kristina Kreiner" userId="d4347760-2312-4683-86e4-78b872516c56" providerId="ADAL" clId="{B9D3BF1A-5CCB-40EA-8C77-837620F228FE}" dt="2023-02-16T14:52:16.639" v="1703" actId="207"/>
        <pc:sldMkLst>
          <pc:docMk/>
          <pc:sldMk cId="2586145259" sldId="267"/>
        </pc:sldMkLst>
        <pc:spChg chg="mod">
          <ac:chgData name="Kristina Kreiner" userId="d4347760-2312-4683-86e4-78b872516c56" providerId="ADAL" clId="{B9D3BF1A-5CCB-40EA-8C77-837620F228FE}" dt="2023-02-16T14:52:16.639" v="1703" actId="207"/>
          <ac:spMkLst>
            <pc:docMk/>
            <pc:sldMk cId="2586145259" sldId="267"/>
            <ac:spMk id="3" creationId="{6282C974-FD44-474D-94C5-5CA674EEA2B1}"/>
          </ac:spMkLst>
        </pc:spChg>
      </pc:sldChg>
      <pc:sldChg chg="addSp delSp modSp mod">
        <pc:chgData name="Kristina Kreiner" userId="d4347760-2312-4683-86e4-78b872516c56" providerId="ADAL" clId="{B9D3BF1A-5CCB-40EA-8C77-837620F228FE}" dt="2023-02-16T14:52:52.115" v="2180" actId="478"/>
        <pc:sldMkLst>
          <pc:docMk/>
          <pc:sldMk cId="857023661" sldId="268"/>
        </pc:sldMkLst>
        <pc:spChg chg="mod">
          <ac:chgData name="Kristina Kreiner" userId="d4347760-2312-4683-86e4-78b872516c56" providerId="ADAL" clId="{B9D3BF1A-5CCB-40EA-8C77-837620F228FE}" dt="2023-02-16T14:52:48.176" v="2118" actId="948"/>
          <ac:spMkLst>
            <pc:docMk/>
            <pc:sldMk cId="857023661" sldId="268"/>
            <ac:spMk id="2" creationId="{39E4CC24-8361-4FC8-B060-107420CAB322}"/>
          </ac:spMkLst>
        </pc:spChg>
        <pc:spChg chg="add del mod modVis">
          <ac:chgData name="Kristina Kreiner" userId="d4347760-2312-4683-86e4-78b872516c56" providerId="ADAL" clId="{B9D3BF1A-5CCB-40EA-8C77-837620F228FE}" dt="2023-02-16T14:52:44.002" v="1973"/>
          <ac:spMkLst>
            <pc:docMk/>
            <pc:sldMk cId="857023661" sldId="268"/>
            <ac:spMk id="3" creationId="{F0BDCE4E-21FD-4879-8AAA-C2DD4DAA41F0}"/>
          </ac:spMkLst>
        </pc:spChg>
        <pc:spChg chg="add del mod modVis">
          <ac:chgData name="Kristina Kreiner" userId="d4347760-2312-4683-86e4-78b872516c56" providerId="ADAL" clId="{B9D3BF1A-5CCB-40EA-8C77-837620F228FE}" dt="2023-02-16T14:52:44.720" v="2050"/>
          <ac:spMkLst>
            <pc:docMk/>
            <pc:sldMk cId="857023661" sldId="268"/>
            <ac:spMk id="6" creationId="{8AAA6B3A-137C-4447-B735-9830565B264D}"/>
          </ac:spMkLst>
        </pc:spChg>
        <pc:spChg chg="add del mod modVis">
          <ac:chgData name="Kristina Kreiner" userId="d4347760-2312-4683-86e4-78b872516c56" providerId="ADAL" clId="{B9D3BF1A-5CCB-40EA-8C77-837620F228FE}" dt="2023-02-16T14:52:45.453" v="2113"/>
          <ac:spMkLst>
            <pc:docMk/>
            <pc:sldMk cId="857023661" sldId="268"/>
            <ac:spMk id="7" creationId="{86621E80-3C26-41EF-AE46-DE45602A74C6}"/>
          </ac:spMkLst>
        </pc:spChg>
        <pc:spChg chg="add del mod modVis">
          <ac:chgData name="Kristina Kreiner" userId="d4347760-2312-4683-86e4-78b872516c56" providerId="ADAL" clId="{B9D3BF1A-5CCB-40EA-8C77-837620F228FE}" dt="2023-02-16T14:52:48.213" v="2177"/>
          <ac:spMkLst>
            <pc:docMk/>
            <pc:sldMk cId="857023661" sldId="268"/>
            <ac:spMk id="8" creationId="{828DD061-A446-4F38-A5FD-8E68298C5CFC}"/>
          </ac:spMkLst>
        </pc:spChg>
        <pc:graphicFrameChg chg="add mod ord modVis replST">
          <ac:chgData name="Kristina Kreiner" userId="d4347760-2312-4683-86e4-78b872516c56" providerId="ADAL" clId="{B9D3BF1A-5CCB-40EA-8C77-837620F228FE}" dt="2023-02-16T14:52:48.213" v="2179"/>
          <ac:graphicFrameMkLst>
            <pc:docMk/>
            <pc:sldMk cId="857023661" sldId="268"/>
            <ac:graphicFrameMk id="5" creationId="{0896A391-AF11-43E7-8CCA-901CF09EAB76}"/>
          </ac:graphicFrameMkLst>
        </pc:graphicFrameChg>
        <pc:picChg chg="del">
          <ac:chgData name="Kristina Kreiner" userId="d4347760-2312-4683-86e4-78b872516c56" providerId="ADAL" clId="{B9D3BF1A-5CCB-40EA-8C77-837620F228FE}" dt="2023-02-16T14:52:52.115" v="2180" actId="478"/>
          <ac:picMkLst>
            <pc:docMk/>
            <pc:sldMk cId="857023661" sldId="268"/>
            <ac:picMk id="4" creationId="{EE4B2EAE-42AC-4C2D-81A2-547F7B2F4410}"/>
          </ac:picMkLst>
        </pc:picChg>
      </pc:sldChg>
      <pc:sldChg chg="addSp delSp modSp mod">
        <pc:chgData name="Kristina Kreiner" userId="d4347760-2312-4683-86e4-78b872516c56" providerId="ADAL" clId="{B9D3BF1A-5CCB-40EA-8C77-837620F228FE}" dt="2023-02-16T14:53:06.514" v="2323" actId="478"/>
        <pc:sldMkLst>
          <pc:docMk/>
          <pc:sldMk cId="2708872528" sldId="269"/>
        </pc:sldMkLst>
        <pc:spChg chg="mod">
          <ac:chgData name="Kristina Kreiner" userId="d4347760-2312-4683-86e4-78b872516c56" providerId="ADAL" clId="{B9D3BF1A-5CCB-40EA-8C77-837620F228FE}" dt="2023-02-16T14:53:00.352" v="2261" actId="948"/>
          <ac:spMkLst>
            <pc:docMk/>
            <pc:sldMk cId="2708872528" sldId="269"/>
            <ac:spMk id="2" creationId="{39E4CC24-8361-4FC8-B060-107420CAB322}"/>
          </ac:spMkLst>
        </pc:spChg>
        <pc:spChg chg="add del mod modVis">
          <ac:chgData name="Kristina Kreiner" userId="d4347760-2312-4683-86e4-78b872516c56" providerId="ADAL" clId="{B9D3BF1A-5CCB-40EA-8C77-837620F228FE}" dt="2023-02-16T14:52:57.693" v="2242"/>
          <ac:spMkLst>
            <pc:docMk/>
            <pc:sldMk cId="2708872528" sldId="269"/>
            <ac:spMk id="3" creationId="{1F5EA696-DF2E-4128-821A-AFF0B51054C9}"/>
          </ac:spMkLst>
        </pc:spChg>
        <pc:spChg chg="add del mod modVis">
          <ac:chgData name="Kristina Kreiner" userId="d4347760-2312-4683-86e4-78b872516c56" providerId="ADAL" clId="{B9D3BF1A-5CCB-40EA-8C77-837620F228FE}" dt="2023-02-16T14:53:00.383" v="2320"/>
          <ac:spMkLst>
            <pc:docMk/>
            <pc:sldMk cId="2708872528" sldId="269"/>
            <ac:spMk id="5" creationId="{36AB213F-4654-4A4C-9478-91BD82967AF7}"/>
          </ac:spMkLst>
        </pc:spChg>
        <pc:graphicFrameChg chg="add mod ord modVis replST">
          <ac:chgData name="Kristina Kreiner" userId="d4347760-2312-4683-86e4-78b872516c56" providerId="ADAL" clId="{B9D3BF1A-5CCB-40EA-8C77-837620F228FE}" dt="2023-02-16T14:53:00.383" v="2322"/>
          <ac:graphicFrameMkLst>
            <pc:docMk/>
            <pc:sldMk cId="2708872528" sldId="269"/>
            <ac:graphicFrameMk id="4" creationId="{1132932A-5FBC-443D-9636-7F93D5D21E37}"/>
          </ac:graphicFrameMkLst>
        </pc:graphicFrameChg>
        <pc:picChg chg="del">
          <ac:chgData name="Kristina Kreiner" userId="d4347760-2312-4683-86e4-78b872516c56" providerId="ADAL" clId="{B9D3BF1A-5CCB-40EA-8C77-837620F228FE}" dt="2023-02-16T14:53:06.514" v="2323" actId="478"/>
          <ac:picMkLst>
            <pc:docMk/>
            <pc:sldMk cId="2708872528" sldId="269"/>
            <ac:picMk id="7" creationId="{074C0276-5090-4047-87A2-2BB328633C7F}"/>
          </ac:picMkLst>
        </pc:picChg>
      </pc:sldChg>
      <pc:sldChg chg="modSp mod">
        <pc:chgData name="Kristina Kreiner" userId="d4347760-2312-4683-86e4-78b872516c56" providerId="ADAL" clId="{B9D3BF1A-5CCB-40EA-8C77-837620F228FE}" dt="2023-02-16T14:52:08.686" v="1702" actId="207"/>
        <pc:sldMkLst>
          <pc:docMk/>
          <pc:sldMk cId="2274033512" sldId="270"/>
        </pc:sldMkLst>
        <pc:spChg chg="mod">
          <ac:chgData name="Kristina Kreiner" userId="d4347760-2312-4683-86e4-78b872516c56" providerId="ADAL" clId="{B9D3BF1A-5CCB-40EA-8C77-837620F228FE}" dt="2023-02-16T14:52:08.686" v="1702" actId="207"/>
          <ac:spMkLst>
            <pc:docMk/>
            <pc:sldMk cId="2274033512" sldId="270"/>
            <ac:spMk id="3" creationId="{13171919-189F-4882-B2F3-9DA020B1F8B9}"/>
          </ac:spMkLst>
        </pc:spChg>
      </pc:sldChg>
      <pc:sldMasterChg chg="addSp delSp modSp mod">
        <pc:chgData name="Kristina Kreiner" userId="d4347760-2312-4683-86e4-78b872516c56" providerId="ADAL" clId="{B9D3BF1A-5CCB-40EA-8C77-837620F228FE}" dt="2023-02-16T14:50:41.844" v="144"/>
        <pc:sldMasterMkLst>
          <pc:docMk/>
          <pc:sldMasterMk cId="4370387" sldId="2147483648"/>
        </pc:sldMasterMkLst>
        <pc:spChg chg="mod">
          <ac:chgData name="Kristina Kreiner" userId="d4347760-2312-4683-86e4-78b872516c56" providerId="ADAL" clId="{B9D3BF1A-5CCB-40EA-8C77-837620F228FE}" dt="2023-02-16T14:50:41.781" v="70" actId="948"/>
          <ac:spMkLst>
            <pc:docMk/>
            <pc:sldMasterMk cId="4370387" sldId="2147483648"/>
            <ac:spMk id="2" creationId="{CC239ECE-7A2D-42F8-A1AA-EC4BC363A41B}"/>
          </ac:spMkLst>
        </pc:spChg>
        <pc:spChg chg="add del mod modVis">
          <ac:chgData name="Kristina Kreiner" userId="d4347760-2312-4683-86e4-78b872516c56" providerId="ADAL" clId="{B9D3BF1A-5CCB-40EA-8C77-837620F228FE}" dt="2023-02-16T14:50:41.816" v="128"/>
          <ac:spMkLst>
            <pc:docMk/>
            <pc:sldMasterMk cId="4370387" sldId="2147483648"/>
            <ac:spMk id="7" creationId="{D2812172-06B7-4A43-B626-801A7C4C56CD}"/>
          </ac:spMkLst>
        </pc:spChg>
        <pc:graphicFrameChg chg="add mod ord modVis replST">
          <ac:chgData name="Kristina Kreiner" userId="d4347760-2312-4683-86e4-78b872516c56" providerId="ADAL" clId="{B9D3BF1A-5CCB-40EA-8C77-837620F228FE}" dt="2023-02-16T14:50:41.844" v="144"/>
          <ac:graphicFrameMkLst>
            <pc:docMk/>
            <pc:sldMasterMk cId="4370387" sldId="2147483648"/>
            <ac:graphicFrameMk id="8" creationId="{884634B0-A747-4326-8BB0-AAAD9FD3CE14}"/>
          </ac:graphicFrameMkLst>
        </pc:graphicFrameChg>
      </pc:sldMasterChg>
    </pc:docChg>
  </pc:docChgLst>
  <pc:docChgLst>
    <pc:chgData name="Kristina Kreiner" userId="d4347760-2312-4683-86e4-78b872516c56" providerId="ADAL" clId="{D57976A2-0A83-4699-B5A0-9D4751CE65AC}"/>
    <pc:docChg chg="custSel addSld delSld modSld replTag">
      <pc:chgData name="Kristina Kreiner" userId="d4347760-2312-4683-86e4-78b872516c56" providerId="ADAL" clId="{D57976A2-0A83-4699-B5A0-9D4751CE65AC}" dt="2023-05-23T21:57:02.977" v="779" actId="20577"/>
      <pc:docMkLst>
        <pc:docMk/>
      </pc:docMkLst>
      <pc:sldChg chg="addSp delSp modSp mod">
        <pc:chgData name="Kristina Kreiner" userId="d4347760-2312-4683-86e4-78b872516c56" providerId="ADAL" clId="{D57976A2-0A83-4699-B5A0-9D4751CE65AC}" dt="2023-05-23T21:51:22.944" v="74"/>
        <pc:sldMkLst>
          <pc:docMk/>
          <pc:sldMk cId="2308805883" sldId="256"/>
        </pc:sldMkLst>
        <pc:spChg chg="mod">
          <ac:chgData name="Kristina Kreiner" userId="d4347760-2312-4683-86e4-78b872516c56" providerId="ADAL" clId="{D57976A2-0A83-4699-B5A0-9D4751CE65AC}" dt="2023-05-23T21:51:22.777" v="1" actId="948"/>
          <ac:spMkLst>
            <pc:docMk/>
            <pc:sldMk cId="2308805883" sldId="256"/>
            <ac:spMk id="2" creationId="{E268F853-E3CD-4E35-8804-A5CA0FF3CC17}"/>
          </ac:spMkLst>
        </pc:spChg>
        <pc:spChg chg="add del mod modVis">
          <ac:chgData name="Kristina Kreiner" userId="d4347760-2312-4683-86e4-78b872516c56" providerId="ADAL" clId="{D57976A2-0A83-4699-B5A0-9D4751CE65AC}" dt="2023-05-23T21:51:22.928" v="72"/>
          <ac:spMkLst>
            <pc:docMk/>
            <pc:sldMk cId="2308805883" sldId="256"/>
            <ac:spMk id="3" creationId="{66446D98-450A-7E2F-297D-F371807AEA8C}"/>
          </ac:spMkLst>
        </pc:spChg>
        <pc:graphicFrameChg chg="mod">
          <ac:chgData name="Kristina Kreiner" userId="d4347760-2312-4683-86e4-78b872516c56" providerId="ADAL" clId="{D57976A2-0A83-4699-B5A0-9D4751CE65AC}" dt="2023-05-23T21:51:22.944" v="74"/>
          <ac:graphicFrameMkLst>
            <pc:docMk/>
            <pc:sldMk cId="2308805883" sldId="256"/>
            <ac:graphicFrameMk id="4" creationId="{3C9692C1-D3CA-4E79-A20C-55E7D5659E46}"/>
          </ac:graphicFrameMkLst>
        </pc:graphicFrameChg>
      </pc:sldChg>
      <pc:sldChg chg="del">
        <pc:chgData name="Kristina Kreiner" userId="d4347760-2312-4683-86e4-78b872516c56" providerId="ADAL" clId="{D57976A2-0A83-4699-B5A0-9D4751CE65AC}" dt="2023-05-23T21:52:59.845" v="99" actId="47"/>
        <pc:sldMkLst>
          <pc:docMk/>
          <pc:sldMk cId="683531858" sldId="259"/>
        </pc:sldMkLst>
      </pc:sldChg>
      <pc:sldChg chg="del">
        <pc:chgData name="Kristina Kreiner" userId="d4347760-2312-4683-86e4-78b872516c56" providerId="ADAL" clId="{D57976A2-0A83-4699-B5A0-9D4751CE65AC}" dt="2023-05-23T21:53:03.241" v="100" actId="47"/>
        <pc:sldMkLst>
          <pc:docMk/>
          <pc:sldMk cId="1134446393" sldId="261"/>
        </pc:sldMkLst>
      </pc:sldChg>
      <pc:sldChg chg="addSp delSp modSp mod">
        <pc:chgData name="Kristina Kreiner" userId="d4347760-2312-4683-86e4-78b872516c56" providerId="ADAL" clId="{D57976A2-0A83-4699-B5A0-9D4751CE65AC}" dt="2023-05-23T21:53:42.497" v="178" actId="207"/>
        <pc:sldMkLst>
          <pc:docMk/>
          <pc:sldMk cId="2541863669" sldId="263"/>
        </pc:sldMkLst>
        <pc:spChg chg="mod">
          <ac:chgData name="Kristina Kreiner" userId="d4347760-2312-4683-86e4-78b872516c56" providerId="ADAL" clId="{D57976A2-0A83-4699-B5A0-9D4751CE65AC}" dt="2023-05-23T21:53:26.634" v="105" actId="948"/>
          <ac:spMkLst>
            <pc:docMk/>
            <pc:sldMk cId="2541863669" sldId="263"/>
            <ac:spMk id="2" creationId="{5D490214-7AE5-44A2-8F3F-30D761BEFC0D}"/>
          </ac:spMkLst>
        </pc:spChg>
        <pc:spChg chg="mod">
          <ac:chgData name="Kristina Kreiner" userId="d4347760-2312-4683-86e4-78b872516c56" providerId="ADAL" clId="{D57976A2-0A83-4699-B5A0-9D4751CE65AC}" dt="2023-05-23T21:53:42.497" v="178" actId="207"/>
          <ac:spMkLst>
            <pc:docMk/>
            <pc:sldMk cId="2541863669" sldId="263"/>
            <ac:spMk id="3" creationId="{F3083072-FE60-43FA-91CA-E73C3D6B3238}"/>
          </ac:spMkLst>
        </pc:spChg>
        <pc:spChg chg="add del mod modVis">
          <ac:chgData name="Kristina Kreiner" userId="d4347760-2312-4683-86e4-78b872516c56" providerId="ADAL" clId="{D57976A2-0A83-4699-B5A0-9D4751CE65AC}" dt="2023-05-23T21:53:26.707" v="161"/>
          <ac:spMkLst>
            <pc:docMk/>
            <pc:sldMk cId="2541863669" sldId="263"/>
            <ac:spMk id="4" creationId="{0B741CE9-30B7-3B97-F5DC-1E5F28E871E4}"/>
          </ac:spMkLst>
        </pc:spChg>
        <pc:graphicFrameChg chg="add mod ord modVis replST">
          <ac:chgData name="Kristina Kreiner" userId="d4347760-2312-4683-86e4-78b872516c56" providerId="ADAL" clId="{D57976A2-0A83-4699-B5A0-9D4751CE65AC}" dt="2023-05-23T21:53:26.751" v="177"/>
          <ac:graphicFrameMkLst>
            <pc:docMk/>
            <pc:sldMk cId="2541863669" sldId="263"/>
            <ac:graphicFrameMk id="5" creationId="{7F190413-5C0A-5B26-77A0-778D6E7B3965}"/>
          </ac:graphicFrameMkLst>
        </pc:graphicFrameChg>
      </pc:sldChg>
      <pc:sldChg chg="modSp mod">
        <pc:chgData name="Kristina Kreiner" userId="d4347760-2312-4683-86e4-78b872516c56" providerId="ADAL" clId="{D57976A2-0A83-4699-B5A0-9D4751CE65AC}" dt="2023-05-23T21:52:43.507" v="98" actId="20577"/>
        <pc:sldMkLst>
          <pc:docMk/>
          <pc:sldMk cId="2586145259" sldId="267"/>
        </pc:sldMkLst>
        <pc:spChg chg="mod">
          <ac:chgData name="Kristina Kreiner" userId="d4347760-2312-4683-86e4-78b872516c56" providerId="ADAL" clId="{D57976A2-0A83-4699-B5A0-9D4751CE65AC}" dt="2023-05-23T21:52:43.507" v="98" actId="20577"/>
          <ac:spMkLst>
            <pc:docMk/>
            <pc:sldMk cId="2586145259" sldId="267"/>
            <ac:spMk id="3" creationId="{6282C974-FD44-474D-94C5-5CA674EEA2B1}"/>
          </ac:spMkLst>
        </pc:spChg>
      </pc:sldChg>
      <pc:sldChg chg="del">
        <pc:chgData name="Kristina Kreiner" userId="d4347760-2312-4683-86e4-78b872516c56" providerId="ADAL" clId="{D57976A2-0A83-4699-B5A0-9D4751CE65AC}" dt="2023-05-23T21:53:05.424" v="101" actId="47"/>
        <pc:sldMkLst>
          <pc:docMk/>
          <pc:sldMk cId="857023661" sldId="268"/>
        </pc:sldMkLst>
      </pc:sldChg>
      <pc:sldChg chg="del">
        <pc:chgData name="Kristina Kreiner" userId="d4347760-2312-4683-86e4-78b872516c56" providerId="ADAL" clId="{D57976A2-0A83-4699-B5A0-9D4751CE65AC}" dt="2023-05-23T21:53:11.238" v="102" actId="47"/>
        <pc:sldMkLst>
          <pc:docMk/>
          <pc:sldMk cId="2708872528" sldId="269"/>
        </pc:sldMkLst>
      </pc:sldChg>
      <pc:sldChg chg="addSp delSp modSp new add mod">
        <pc:chgData name="Kristina Kreiner" userId="d4347760-2312-4683-86e4-78b872516c56" providerId="ADAL" clId="{D57976A2-0A83-4699-B5A0-9D4751CE65AC}" dt="2023-05-23T21:57:02.977" v="779" actId="20577"/>
        <pc:sldMkLst>
          <pc:docMk/>
          <pc:sldMk cId="145497202" sldId="271"/>
        </pc:sldMkLst>
        <pc:spChg chg="mod">
          <ac:chgData name="Kristina Kreiner" userId="d4347760-2312-4683-86e4-78b872516c56" providerId="ADAL" clId="{D57976A2-0A83-4699-B5A0-9D4751CE65AC}" dt="2023-05-23T21:54:31.468" v="228" actId="948"/>
          <ac:spMkLst>
            <pc:docMk/>
            <pc:sldMk cId="145497202" sldId="271"/>
            <ac:spMk id="2" creationId="{8F530634-8E41-A40B-C56D-1DB377B2684E}"/>
          </ac:spMkLst>
        </pc:spChg>
        <pc:spChg chg="mod">
          <ac:chgData name="Kristina Kreiner" userId="d4347760-2312-4683-86e4-78b872516c56" providerId="ADAL" clId="{D57976A2-0A83-4699-B5A0-9D4751CE65AC}" dt="2023-05-23T21:57:02.977" v="779" actId="20577"/>
          <ac:spMkLst>
            <pc:docMk/>
            <pc:sldMk cId="145497202" sldId="271"/>
            <ac:spMk id="3" creationId="{3FA01982-86B0-908F-D4F6-B9EFCCEEB12F}"/>
          </ac:spMkLst>
        </pc:spChg>
        <pc:spChg chg="add del mod modVis">
          <ac:chgData name="Kristina Kreiner" userId="d4347760-2312-4683-86e4-78b872516c56" providerId="ADAL" clId="{D57976A2-0A83-4699-B5A0-9D4751CE65AC}" dt="2023-05-23T21:54:31.504" v="269"/>
          <ac:spMkLst>
            <pc:docMk/>
            <pc:sldMk cId="145497202" sldId="271"/>
            <ac:spMk id="5" creationId="{B2906EBB-6E76-4C12-8C42-E3F4235C4CF8}"/>
          </ac:spMkLst>
        </pc:spChg>
        <pc:graphicFrameChg chg="add mod ord modVis replST">
          <ac:chgData name="Kristina Kreiner" userId="d4347760-2312-4683-86e4-78b872516c56" providerId="ADAL" clId="{D57976A2-0A83-4699-B5A0-9D4751CE65AC}" dt="2023-05-23T21:54:31.511" v="271"/>
          <ac:graphicFrameMkLst>
            <pc:docMk/>
            <pc:sldMk cId="145497202" sldId="271"/>
            <ac:graphicFrameMk id="4" creationId="{A6195A3F-7634-BF4E-F800-6A974289EAC1}"/>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41B6A4-F9B9-441A-B865-0A7AB4078281}" type="datetimeFigureOut">
              <a:rPr lang="en-GB" smtClean="0"/>
              <a:t>23/05/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57AAAD-8B78-4D36-93A9-3112540F348F}" type="slidenum">
              <a:rPr lang="en-GB" smtClean="0"/>
              <a:t>‹#›</a:t>
            </a:fld>
            <a:endParaRPr lang="en-GB"/>
          </a:p>
        </p:txBody>
      </p:sp>
    </p:spTree>
    <p:extLst>
      <p:ext uri="{BB962C8B-B14F-4D97-AF65-F5344CB8AC3E}">
        <p14:creationId xmlns:p14="http://schemas.microsoft.com/office/powerpoint/2010/main" val="3730552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857AAAD-8B78-4D36-93A9-3112540F348F}" type="slidenum">
              <a:rPr lang="en-GB" smtClean="0"/>
              <a:t>5</a:t>
            </a:fld>
            <a:endParaRPr lang="en-GB"/>
          </a:p>
        </p:txBody>
      </p:sp>
    </p:spTree>
    <p:extLst>
      <p:ext uri="{BB962C8B-B14F-4D97-AF65-F5344CB8AC3E}">
        <p14:creationId xmlns:p14="http://schemas.microsoft.com/office/powerpoint/2010/main" val="15011324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A2C4C-969D-4A97-A042-3D17E3DBFA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3E1D499-7B96-44A4-8057-FAE6B61CB58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8793D35-622A-46BB-8B09-96AFB8056E00}"/>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5" name="Footer Placeholder 4">
            <a:extLst>
              <a:ext uri="{FF2B5EF4-FFF2-40B4-BE49-F238E27FC236}">
                <a16:creationId xmlns:a16="http://schemas.microsoft.com/office/drawing/2014/main" id="{AD99CB7E-2BDE-4E17-A436-7B484B8A049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03E500B-EBD6-4648-94C9-087CE19E8904}"/>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1145543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25B87-8C8E-4505-A16F-61F4E73F2B9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FBF1634-BC76-48C4-AEBA-FA4D439F9F1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D8F7E9C-59F9-4A79-81D2-8AA401EC053B}"/>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5" name="Footer Placeholder 4">
            <a:extLst>
              <a:ext uri="{FF2B5EF4-FFF2-40B4-BE49-F238E27FC236}">
                <a16:creationId xmlns:a16="http://schemas.microsoft.com/office/drawing/2014/main" id="{4689F5DE-8171-4E28-89FF-965A82FF4B5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2FB8AB9-31CE-40D2-B528-8E96B18E64B2}"/>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204235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CFB3348-EC35-4EFA-9A56-067799C73B0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B1E8717-5F30-44AC-A04C-73C4BC5606B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6245951-A095-4649-81C9-04FF6EA4EA26}"/>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5" name="Footer Placeholder 4">
            <a:extLst>
              <a:ext uri="{FF2B5EF4-FFF2-40B4-BE49-F238E27FC236}">
                <a16:creationId xmlns:a16="http://schemas.microsoft.com/office/drawing/2014/main" id="{F833CDBA-7231-4552-8158-7431415CE9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83E52FF-68E5-4003-A225-31C7CD9EFB0F}"/>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2100100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F9A78-B277-474D-B56D-624F366CA31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6DD56FB-2D4B-45C8-AB8D-BCA5D95B4AB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205E9F-0962-4642-A2BE-4D4270F988D4}"/>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5" name="Footer Placeholder 4">
            <a:extLst>
              <a:ext uri="{FF2B5EF4-FFF2-40B4-BE49-F238E27FC236}">
                <a16:creationId xmlns:a16="http://schemas.microsoft.com/office/drawing/2014/main" id="{24414886-1163-42E5-8D09-3EB508278C3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40ED3D-1B1C-48AD-9B06-550107F4C322}"/>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38199658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D9D44-553D-4B46-B0FA-640C3174BA6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C288CCB-BEFF-41A4-9137-6DCF2465B0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8CEC3FB-1F8C-46CE-91F4-ADFDB1123A55}"/>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5" name="Footer Placeholder 4">
            <a:extLst>
              <a:ext uri="{FF2B5EF4-FFF2-40B4-BE49-F238E27FC236}">
                <a16:creationId xmlns:a16="http://schemas.microsoft.com/office/drawing/2014/main" id="{353B0317-E57B-42E0-BC6A-9882864B1D9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45D3A27-8D6D-4558-896B-1A88BD482513}"/>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20751759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53909-F546-4AB5-8506-CCDD91F6FB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9BDCD89-7B0B-4716-BEF2-BF12505123D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E44A7B9-9CFE-4E00-A432-AA1A2A6A81F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28AE540-53DB-49EC-AFE1-2D7DBF0A6094}"/>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6" name="Footer Placeholder 5">
            <a:extLst>
              <a:ext uri="{FF2B5EF4-FFF2-40B4-BE49-F238E27FC236}">
                <a16:creationId xmlns:a16="http://schemas.microsoft.com/office/drawing/2014/main" id="{C46EC3FF-8BCA-4E6C-B795-336D096AA32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BFA84DB-78C0-4E87-83C9-7058E13B3454}"/>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22574439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A97D0-DCE1-44B4-936D-D2ADB63FFFC6}"/>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C6D24E0-D7F7-4BDE-AAD7-C7CC506BF17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B1A723E-B188-4E7B-9FFD-0E74CD35407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EED1CFC-D505-4C34-9C18-242C82CC8E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FA09217-9F66-412D-9D23-53C6121B897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D696ED5-5C9B-4508-A57F-21FABC0E055D}"/>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8" name="Footer Placeholder 7">
            <a:extLst>
              <a:ext uri="{FF2B5EF4-FFF2-40B4-BE49-F238E27FC236}">
                <a16:creationId xmlns:a16="http://schemas.microsoft.com/office/drawing/2014/main" id="{A1F02006-1AE5-4F5F-A78C-7A358C54A71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439429F-4F16-49E6-819E-C3D07528E2C3}"/>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14438675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8CECC-762E-4AC5-BA72-57AED5F54BD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9AA941C-3A9D-42E5-A393-BB8268B210F1}"/>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4" name="Footer Placeholder 3">
            <a:extLst>
              <a:ext uri="{FF2B5EF4-FFF2-40B4-BE49-F238E27FC236}">
                <a16:creationId xmlns:a16="http://schemas.microsoft.com/office/drawing/2014/main" id="{9BD35063-9D42-441C-BADD-3F2B417D77B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8210BEA7-29D5-430F-AC7B-A9B01E98D0AC}"/>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4262956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CFFD18-10BE-4461-88C5-5412887D50D2}"/>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3" name="Footer Placeholder 2">
            <a:extLst>
              <a:ext uri="{FF2B5EF4-FFF2-40B4-BE49-F238E27FC236}">
                <a16:creationId xmlns:a16="http://schemas.microsoft.com/office/drawing/2014/main" id="{32380CD2-FFD7-4EA6-BE05-FF6A02B9A2E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47DD554-38A7-4608-8E0D-DC133554F41C}"/>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13428843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9A645-8429-4A7B-ADBF-899D1F23B5A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4C96325-978F-4154-913A-764060B7ED3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F3AE9913-DB16-4BBE-85FE-9AE61A5C2A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2D045E-290A-4BCD-B93F-03E159C5F493}"/>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6" name="Footer Placeholder 5">
            <a:extLst>
              <a:ext uri="{FF2B5EF4-FFF2-40B4-BE49-F238E27FC236}">
                <a16:creationId xmlns:a16="http://schemas.microsoft.com/office/drawing/2014/main" id="{00DF5BCF-5F09-4BCB-ADBE-A12E6A6E5A1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171B61C-D3D2-4200-BE9B-AEA2A1CF89E3}"/>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40156800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BD0A2-53A5-4B23-8B24-C8194A88FF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96DA3F3-ED11-4932-A135-7114938BFEA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956B3720-126E-4A61-8D8F-3F553F5415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70D88C-B74D-4574-A559-5F7099377885}"/>
              </a:ext>
            </a:extLst>
          </p:cNvPr>
          <p:cNvSpPr>
            <a:spLocks noGrp="1"/>
          </p:cNvSpPr>
          <p:nvPr>
            <p:ph type="dt" sz="half" idx="10"/>
          </p:nvPr>
        </p:nvSpPr>
        <p:spPr/>
        <p:txBody>
          <a:bodyPr/>
          <a:lstStyle/>
          <a:p>
            <a:fld id="{5CBD6FCB-AEC2-4095-BD92-25E8B8BCD19B}" type="datetimeFigureOut">
              <a:rPr lang="en-GB" smtClean="0"/>
              <a:t>23/05/2023</a:t>
            </a:fld>
            <a:endParaRPr lang="en-GB"/>
          </a:p>
        </p:txBody>
      </p:sp>
      <p:sp>
        <p:nvSpPr>
          <p:cNvPr id="6" name="Footer Placeholder 5">
            <a:extLst>
              <a:ext uri="{FF2B5EF4-FFF2-40B4-BE49-F238E27FC236}">
                <a16:creationId xmlns:a16="http://schemas.microsoft.com/office/drawing/2014/main" id="{41994448-8B57-4D2B-B211-85C6BFC7C94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A66B53-B668-4DC7-B2CB-C0A0B723D992}"/>
              </a:ext>
            </a:extLst>
          </p:cNvPr>
          <p:cNvSpPr>
            <a:spLocks noGrp="1"/>
          </p:cNvSpPr>
          <p:nvPr>
            <p:ph type="sldNum" sz="quarter" idx="12"/>
          </p:nvPr>
        </p:nvSpPr>
        <p:spPr/>
        <p:txBody>
          <a:bodyPr/>
          <a:lstStyle/>
          <a:p>
            <a:fld id="{3C48F557-D31E-483C-9704-A1F38E1D171E}" type="slidenum">
              <a:rPr lang="en-GB" smtClean="0"/>
              <a:t>‹#›</a:t>
            </a:fld>
            <a:endParaRPr lang="en-GB"/>
          </a:p>
        </p:txBody>
      </p:sp>
    </p:spTree>
    <p:extLst>
      <p:ext uri="{BB962C8B-B14F-4D97-AF65-F5344CB8AC3E}">
        <p14:creationId xmlns:p14="http://schemas.microsoft.com/office/powerpoint/2010/main" val="1894720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4634B0-A747-4326-8BB0-AAAD9FD3CE14}"/>
              </a:ext>
            </a:extLst>
          </p:cNvPr>
          <p:cNvGraphicFramePr>
            <a:graphicFrameLocks noChangeAspect="1"/>
          </p:cNvGraphicFramePr>
          <p:nvPr userDrawn="1">
            <p:custDataLst>
              <p:tags r:id="rId13"/>
            </p:custDataLst>
            <p:extLst>
              <p:ext uri="{D42A27DB-BD31-4B8C-83A1-F6EECF244321}">
                <p14:modId xmlns:p14="http://schemas.microsoft.com/office/powerpoint/2010/main" val="1702833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884634B0-A747-4326-8BB0-AAAD9FD3CE1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C239ECE-7A2D-42F8-A1AA-EC4BC363A4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3AF814E-A0E7-41D0-905C-C78930A830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04A08A-96B3-4326-8CC9-1AFAA703423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CBD6FCB-AEC2-4095-BD92-25E8B8BCD19B}" type="datetimeFigureOut">
              <a:rPr lang="en-GB" smtClean="0"/>
              <a:t>23/05/2023</a:t>
            </a:fld>
            <a:endParaRPr lang="en-GB"/>
          </a:p>
        </p:txBody>
      </p:sp>
      <p:sp>
        <p:nvSpPr>
          <p:cNvPr id="5" name="Footer Placeholder 4">
            <a:extLst>
              <a:ext uri="{FF2B5EF4-FFF2-40B4-BE49-F238E27FC236}">
                <a16:creationId xmlns:a16="http://schemas.microsoft.com/office/drawing/2014/main" id="{A2297558-3A09-4587-87CE-1D00941E92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8E21B943-B918-440C-A889-7F98668091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48F557-D31E-483C-9704-A1F38E1D171E}" type="slidenum">
              <a:rPr lang="en-GB" smtClean="0"/>
              <a:t>‹#›</a:t>
            </a:fld>
            <a:endParaRPr lang="en-GB"/>
          </a:p>
        </p:txBody>
      </p:sp>
    </p:spTree>
    <p:extLst>
      <p:ext uri="{BB962C8B-B14F-4D97-AF65-F5344CB8AC3E}">
        <p14:creationId xmlns:p14="http://schemas.microsoft.com/office/powerpoint/2010/main" val="43703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9692C1-D3CA-4E79-A20C-55E7D5659E46}"/>
              </a:ext>
            </a:extLst>
          </p:cNvPr>
          <p:cNvGraphicFramePr>
            <a:graphicFrameLocks noChangeAspect="1"/>
          </p:cNvGraphicFramePr>
          <p:nvPr>
            <p:custDataLst>
              <p:tags r:id="rId1"/>
            </p:custDataLst>
            <p:extLst>
              <p:ext uri="{D42A27DB-BD31-4B8C-83A1-F6EECF244321}">
                <p14:modId xmlns:p14="http://schemas.microsoft.com/office/powerpoint/2010/main" val="282516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3C9692C1-D3CA-4E79-A20C-55E7D5659E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68F853-E3CD-4E35-8804-A5CA0FF3CC17}"/>
              </a:ext>
            </a:extLst>
          </p:cNvPr>
          <p:cNvSpPr>
            <a:spLocks noGrp="1"/>
          </p:cNvSpPr>
          <p:nvPr>
            <p:ph type="ctrTitle"/>
          </p:nvPr>
        </p:nvSpPr>
        <p:spPr>
          <a:xfrm>
            <a:off x="1524000" y="3746183"/>
            <a:ext cx="9144000" cy="2387600"/>
          </a:xfrm>
        </p:spPr>
        <p:txBody>
          <a:bodyPr vert="horz">
            <a:normAutofit fontScale="90000"/>
          </a:bodyPr>
          <a:lstStyle/>
          <a:p>
            <a:r>
              <a:rPr lang="en-GB" dirty="0" err="1"/>
              <a:t>Referat</a:t>
            </a:r>
            <a:r>
              <a:rPr lang="en-GB" dirty="0"/>
              <a:t> </a:t>
            </a:r>
            <a:r>
              <a:rPr lang="en-GB" dirty="0" err="1"/>
              <a:t>af</a:t>
            </a:r>
            <a:r>
              <a:rPr lang="en-GB" dirty="0"/>
              <a:t> </a:t>
            </a:r>
            <a:br>
              <a:rPr lang="en-GB" dirty="0"/>
            </a:br>
            <a:r>
              <a:rPr lang="en-GB" dirty="0"/>
              <a:t>General </a:t>
            </a:r>
            <a:r>
              <a:rPr lang="en-GB" dirty="0" err="1"/>
              <a:t>forsamling</a:t>
            </a:r>
            <a:r>
              <a:rPr lang="en-GB" dirty="0"/>
              <a:t> 2023</a:t>
            </a:r>
            <a:br>
              <a:rPr lang="en-GB" dirty="0"/>
            </a:br>
            <a:r>
              <a:rPr lang="en-GB" sz="3600" dirty="0"/>
              <a:t>2. marts kl. 17.00</a:t>
            </a:r>
            <a:br>
              <a:rPr lang="en-GB" sz="3600" dirty="0"/>
            </a:br>
            <a:r>
              <a:rPr lang="en-GB" sz="3600" dirty="0" err="1"/>
              <a:t>Frivillig</a:t>
            </a:r>
            <a:r>
              <a:rPr lang="en-GB" sz="3600" dirty="0"/>
              <a:t> </a:t>
            </a:r>
            <a:r>
              <a:rPr lang="en-GB" sz="3600" dirty="0" err="1"/>
              <a:t>centeret</a:t>
            </a:r>
            <a:r>
              <a:rPr lang="en-GB" sz="3600" dirty="0"/>
              <a:t>, </a:t>
            </a:r>
            <a:r>
              <a:rPr lang="en-GB" sz="3600" dirty="0" err="1"/>
              <a:t>Verstergave</a:t>
            </a:r>
            <a:r>
              <a:rPr lang="en-GB" sz="3600" dirty="0"/>
              <a:t> 4, 3200 </a:t>
            </a:r>
            <a:r>
              <a:rPr lang="en-GB" sz="3600" dirty="0" err="1"/>
              <a:t>Helsinge</a:t>
            </a:r>
            <a:br>
              <a:rPr lang="en-GB" sz="3600" dirty="0"/>
            </a:br>
            <a:br>
              <a:rPr lang="en-GB" sz="3600" dirty="0"/>
            </a:br>
            <a:r>
              <a:rPr lang="en-GB" dirty="0"/>
              <a:t>SIND </a:t>
            </a:r>
            <a:r>
              <a:rPr lang="en-GB" dirty="0" err="1"/>
              <a:t>Gribskov</a:t>
            </a:r>
            <a:r>
              <a:rPr lang="en-GB" dirty="0"/>
              <a:t> </a:t>
            </a:r>
            <a:r>
              <a:rPr lang="en-GB" dirty="0" err="1"/>
              <a:t>lokal</a:t>
            </a:r>
            <a:r>
              <a:rPr lang="en-GB" dirty="0"/>
              <a:t> </a:t>
            </a:r>
            <a:r>
              <a:rPr lang="en-GB" dirty="0" err="1"/>
              <a:t>forening</a:t>
            </a:r>
            <a:endParaRPr lang="en-GB" dirty="0"/>
          </a:p>
        </p:txBody>
      </p:sp>
      <p:pic>
        <p:nvPicPr>
          <p:cNvPr id="1026" name="Picture 2" descr="SIND Gribskov | SIND">
            <a:extLst>
              <a:ext uri="{FF2B5EF4-FFF2-40B4-BE49-F238E27FC236}">
                <a16:creationId xmlns:a16="http://schemas.microsoft.com/office/drawing/2014/main" id="{6F5BAF6E-1A32-40FB-9510-266B327678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8791" y="574993"/>
            <a:ext cx="1810024" cy="1731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8058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2DB72-159D-4123-AB30-311A506903A0}"/>
              </a:ext>
            </a:extLst>
          </p:cNvPr>
          <p:cNvSpPr>
            <a:spLocks noGrp="1"/>
          </p:cNvSpPr>
          <p:nvPr>
            <p:ph type="title"/>
          </p:nvPr>
        </p:nvSpPr>
        <p:spPr/>
        <p:txBody>
          <a:bodyPr/>
          <a:lstStyle/>
          <a:p>
            <a:r>
              <a:rPr lang="en-US" dirty="0" err="1"/>
              <a:t>Deltagere</a:t>
            </a:r>
            <a:br>
              <a:rPr lang="en-US" dirty="0"/>
            </a:br>
            <a:r>
              <a:rPr lang="da-DK" sz="2000" dirty="0">
                <a:latin typeface="Arial" panose="020B0604020202020204" pitchFamily="34" charset="0"/>
                <a:cs typeface="Arial" panose="020B0604020202020204" pitchFamily="34" charset="0"/>
              </a:rPr>
              <a:t>GF SIND Gribskov 2022</a:t>
            </a:r>
            <a:endParaRPr lang="en-DK" dirty="0"/>
          </a:p>
        </p:txBody>
      </p:sp>
      <p:sp>
        <p:nvSpPr>
          <p:cNvPr id="3" name="Content Placeholder 2">
            <a:extLst>
              <a:ext uri="{FF2B5EF4-FFF2-40B4-BE49-F238E27FC236}">
                <a16:creationId xmlns:a16="http://schemas.microsoft.com/office/drawing/2014/main" id="{13171919-189F-4882-B2F3-9DA020B1F8B9}"/>
              </a:ext>
            </a:extLst>
          </p:cNvPr>
          <p:cNvSpPr>
            <a:spLocks noGrp="1"/>
          </p:cNvSpPr>
          <p:nvPr>
            <p:ph idx="1"/>
          </p:nvPr>
        </p:nvSpPr>
        <p:spPr/>
        <p:txBody>
          <a:bodyPr>
            <a:normAutofit/>
          </a:bodyPr>
          <a:lstStyle/>
          <a:p>
            <a:r>
              <a:rPr lang="en-US" sz="2000" dirty="0">
                <a:solidFill>
                  <a:srgbClr val="FF0000"/>
                </a:solidFill>
              </a:rPr>
              <a:t>Lisa </a:t>
            </a:r>
            <a:r>
              <a:rPr lang="en-US" sz="2000" dirty="0" err="1">
                <a:solidFill>
                  <a:srgbClr val="FF0000"/>
                </a:solidFill>
              </a:rPr>
              <a:t>Tange</a:t>
            </a:r>
            <a:r>
              <a:rPr lang="en-US" sz="2000" dirty="0">
                <a:solidFill>
                  <a:srgbClr val="FF0000"/>
                </a:solidFill>
              </a:rPr>
              <a:t>, Revisor </a:t>
            </a:r>
          </a:p>
          <a:p>
            <a:r>
              <a:rPr lang="en-US" sz="2000" dirty="0">
                <a:solidFill>
                  <a:srgbClr val="FF0000"/>
                </a:solidFill>
              </a:rPr>
              <a:t>Per </a:t>
            </a:r>
            <a:r>
              <a:rPr lang="en-US" sz="2000" dirty="0" err="1">
                <a:solidFill>
                  <a:srgbClr val="FF0000"/>
                </a:solidFill>
              </a:rPr>
              <a:t>Mundes</a:t>
            </a:r>
            <a:r>
              <a:rPr lang="en-US" sz="2000" dirty="0">
                <a:solidFill>
                  <a:srgbClr val="FF0000"/>
                </a:solidFill>
              </a:rPr>
              <a:t>, </a:t>
            </a:r>
            <a:r>
              <a:rPr lang="en-US" sz="2000" dirty="0" err="1">
                <a:solidFill>
                  <a:srgbClr val="FF0000"/>
                </a:solidFill>
              </a:rPr>
              <a:t>Næstformand</a:t>
            </a:r>
            <a:endParaRPr lang="en-US" sz="2000" dirty="0">
              <a:solidFill>
                <a:srgbClr val="FF0000"/>
              </a:solidFill>
            </a:endParaRPr>
          </a:p>
          <a:p>
            <a:r>
              <a:rPr lang="en-US" sz="2000" dirty="0">
                <a:solidFill>
                  <a:srgbClr val="FF0000"/>
                </a:solidFill>
              </a:rPr>
              <a:t>Kristian Kreiner, </a:t>
            </a:r>
            <a:r>
              <a:rPr lang="en-US" sz="2000" dirty="0" err="1">
                <a:solidFill>
                  <a:srgbClr val="FF0000"/>
                </a:solidFill>
              </a:rPr>
              <a:t>Kasser</a:t>
            </a:r>
            <a:endParaRPr lang="en-US" sz="2000" dirty="0">
              <a:solidFill>
                <a:srgbClr val="FF0000"/>
              </a:solidFill>
            </a:endParaRPr>
          </a:p>
          <a:p>
            <a:r>
              <a:rPr lang="en-US" sz="2000" dirty="0">
                <a:solidFill>
                  <a:srgbClr val="FF0000"/>
                </a:solidFill>
              </a:rPr>
              <a:t>Kristina Kreiner, </a:t>
            </a:r>
            <a:r>
              <a:rPr lang="en-US" sz="2000" dirty="0" err="1">
                <a:solidFill>
                  <a:srgbClr val="FF0000"/>
                </a:solidFill>
              </a:rPr>
              <a:t>Formand</a:t>
            </a:r>
            <a:endParaRPr lang="en-US" sz="2000" dirty="0">
              <a:solidFill>
                <a:srgbClr val="FF0000"/>
              </a:solidFill>
            </a:endParaRPr>
          </a:p>
          <a:p>
            <a:endParaRPr lang="en-DK" sz="2000" dirty="0">
              <a:solidFill>
                <a:srgbClr val="FF0000"/>
              </a:solidFill>
            </a:endParaRPr>
          </a:p>
        </p:txBody>
      </p:sp>
    </p:spTree>
    <p:extLst>
      <p:ext uri="{BB962C8B-B14F-4D97-AF65-F5344CB8AC3E}">
        <p14:creationId xmlns:p14="http://schemas.microsoft.com/office/powerpoint/2010/main" val="2274033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26BA8-48F7-40BC-9D5F-FAA7B26BD015}"/>
              </a:ext>
            </a:extLst>
          </p:cNvPr>
          <p:cNvSpPr>
            <a:spLocks noGrp="1"/>
          </p:cNvSpPr>
          <p:nvPr>
            <p:ph type="title"/>
          </p:nvPr>
        </p:nvSpPr>
        <p:spPr>
          <a:xfrm>
            <a:off x="838200" y="0"/>
            <a:ext cx="10515600" cy="1325563"/>
          </a:xfrm>
        </p:spPr>
        <p:txBody>
          <a:bodyPr/>
          <a:lstStyle/>
          <a:p>
            <a:r>
              <a:rPr lang="en-US" dirty="0"/>
              <a:t>Referat </a:t>
            </a:r>
            <a:r>
              <a:rPr lang="en-US" dirty="0" err="1"/>
              <a:t>af</a:t>
            </a:r>
            <a:r>
              <a:rPr lang="en-US" dirty="0"/>
              <a:t> Sind </a:t>
            </a:r>
            <a:r>
              <a:rPr lang="en-US" dirty="0" err="1"/>
              <a:t>Gribskov</a:t>
            </a:r>
            <a:r>
              <a:rPr lang="en-US" dirty="0"/>
              <a:t> GF 2022</a:t>
            </a:r>
            <a:endParaRPr lang="en-DK" dirty="0"/>
          </a:p>
        </p:txBody>
      </p:sp>
      <p:sp>
        <p:nvSpPr>
          <p:cNvPr id="3" name="Content Placeholder 2">
            <a:extLst>
              <a:ext uri="{FF2B5EF4-FFF2-40B4-BE49-F238E27FC236}">
                <a16:creationId xmlns:a16="http://schemas.microsoft.com/office/drawing/2014/main" id="{6282C974-FD44-474D-94C5-5CA674EEA2B1}"/>
              </a:ext>
            </a:extLst>
          </p:cNvPr>
          <p:cNvSpPr>
            <a:spLocks noGrp="1"/>
          </p:cNvSpPr>
          <p:nvPr>
            <p:ph sz="half" idx="1"/>
          </p:nvPr>
        </p:nvSpPr>
        <p:spPr>
          <a:xfrm>
            <a:off x="838201" y="1111073"/>
            <a:ext cx="10515599" cy="4351338"/>
          </a:xfrm>
        </p:spPr>
        <p:txBody>
          <a:bodyPr>
            <a:noAutofit/>
          </a:bodyPr>
          <a:lstStyle/>
          <a:p>
            <a:pPr marL="342900" indent="-342900">
              <a:lnSpc>
                <a:spcPct val="100000"/>
              </a:lnSpc>
              <a:spcBef>
                <a:spcPts val="600"/>
              </a:spcBef>
              <a:buFont typeface="+mj-lt"/>
              <a:buAutoNum type="arabicPeriod"/>
            </a:pPr>
            <a:r>
              <a:rPr lang="da-DK" sz="1100" b="1" dirty="0">
                <a:latin typeface="Arial" panose="020B0604020202020204" pitchFamily="34" charset="0"/>
                <a:ea typeface="SimSun" panose="02010600030101010101" pitchFamily="2" charset="-122"/>
                <a:cs typeface="Times New Roman" panose="02020603050405020304" pitchFamily="18" charset="0"/>
              </a:rPr>
              <a:t>V</a:t>
            </a:r>
            <a:r>
              <a:rPr lang="da-DK" sz="1100" b="1" dirty="0">
                <a:effectLst/>
                <a:latin typeface="Arial" panose="020B0604020202020204" pitchFamily="34" charset="0"/>
                <a:ea typeface="SimSun" panose="02010600030101010101" pitchFamily="2" charset="-122"/>
                <a:cs typeface="Times New Roman" panose="02020603050405020304" pitchFamily="18" charset="0"/>
              </a:rPr>
              <a:t>alg af dirigent, referent og </a:t>
            </a:r>
            <a:r>
              <a:rPr lang="da-DK" sz="1100" b="1" dirty="0" err="1">
                <a:effectLst/>
                <a:latin typeface="Arial" panose="020B0604020202020204" pitchFamily="34" charset="0"/>
                <a:ea typeface="SimSun" panose="02010600030101010101" pitchFamily="2" charset="-122"/>
                <a:cs typeface="Times New Roman" panose="02020603050405020304" pitchFamily="18" charset="0"/>
              </a:rPr>
              <a:t>stemmertæller</a:t>
            </a:r>
            <a:endParaRPr lang="da-DK" sz="1100" b="1" dirty="0">
              <a:latin typeface="Arial" panose="020B0604020202020204" pitchFamily="34" charset="0"/>
              <a:ea typeface="SimSun" panose="02010600030101010101" pitchFamily="2" charset="-122"/>
              <a:cs typeface="Times New Roman" panose="02020603050405020304" pitchFamily="18" charset="0"/>
            </a:endParaRPr>
          </a:p>
          <a:p>
            <a:pPr lvl="1">
              <a:lnSpc>
                <a:spcPct val="100000"/>
              </a:lnSpc>
              <a:spcBef>
                <a:spcPts val="600"/>
              </a:spcBef>
            </a:pPr>
            <a:r>
              <a:rPr lang="da-DK" sz="1100" dirty="0">
                <a:effectLst/>
                <a:latin typeface="Arial" panose="020B0604020202020204" pitchFamily="34" charset="0"/>
                <a:ea typeface="SimSun" panose="02010600030101010101" pitchFamily="2" charset="-122"/>
                <a:cs typeface="Times New Roman" panose="02020603050405020304" pitchFamily="18" charset="0"/>
              </a:rPr>
              <a:t>Følgende blev udvalgt til dirigent, referent og </a:t>
            </a:r>
            <a:r>
              <a:rPr lang="da-DK" sz="1100" dirty="0" err="1">
                <a:effectLst/>
                <a:latin typeface="Arial" panose="020B0604020202020204" pitchFamily="34" charset="0"/>
                <a:ea typeface="SimSun" panose="02010600030101010101" pitchFamily="2" charset="-122"/>
                <a:cs typeface="Times New Roman" panose="02020603050405020304" pitchFamily="18" charset="0"/>
              </a:rPr>
              <a:t>stemmertæller</a:t>
            </a:r>
            <a:r>
              <a:rPr lang="da-DK" sz="1100" dirty="0">
                <a:effectLst/>
                <a:latin typeface="Arial" panose="020B0604020202020204" pitchFamily="34" charset="0"/>
                <a:ea typeface="SimSun" panose="02010600030101010101" pitchFamily="2" charset="-122"/>
                <a:cs typeface="Times New Roman" panose="02020603050405020304" pitchFamily="18" charset="0"/>
              </a:rPr>
              <a:t>: Kristina </a:t>
            </a:r>
            <a:r>
              <a:rPr lang="da-DK" sz="1100" dirty="0" err="1">
                <a:effectLst/>
                <a:latin typeface="Arial" panose="020B0604020202020204" pitchFamily="34" charset="0"/>
                <a:ea typeface="SimSun" panose="02010600030101010101" pitchFamily="2" charset="-122"/>
                <a:cs typeface="Times New Roman" panose="02020603050405020304" pitchFamily="18" charset="0"/>
              </a:rPr>
              <a:t>Kreinier</a:t>
            </a:r>
            <a:r>
              <a:rPr lang="da-DK" sz="1100" dirty="0">
                <a:effectLst/>
                <a:latin typeface="Arial" panose="020B0604020202020204" pitchFamily="34" charset="0"/>
                <a:ea typeface="SimSun" panose="02010600030101010101" pitchFamily="2" charset="-122"/>
                <a:cs typeface="Times New Roman" panose="02020603050405020304" pitchFamily="18" charset="0"/>
              </a:rPr>
              <a:t> </a:t>
            </a:r>
          </a:p>
          <a:p>
            <a:pPr marL="342900" indent="-342900">
              <a:lnSpc>
                <a:spcPct val="100000"/>
              </a:lnSpc>
              <a:spcBef>
                <a:spcPts val="600"/>
              </a:spcBef>
              <a:buFont typeface="+mj-lt"/>
              <a:buAutoNum type="arabicPeriod"/>
            </a:pPr>
            <a:r>
              <a:rPr lang="da-DK" sz="1100" dirty="0">
                <a:effectLst/>
                <a:latin typeface="Arial" panose="020B0604020202020204" pitchFamily="34" charset="0"/>
                <a:ea typeface="SimSun" panose="02010600030101010101" pitchFamily="2" charset="-122"/>
                <a:cs typeface="Times New Roman" panose="02020603050405020304" pitchFamily="18" charset="0"/>
              </a:rPr>
              <a:t> </a:t>
            </a:r>
            <a:r>
              <a:rPr lang="da-DK" sz="1100" b="1" dirty="0">
                <a:effectLst/>
                <a:latin typeface="Arial" panose="020B0604020202020204" pitchFamily="34" charset="0"/>
                <a:ea typeface="SimSun" panose="02010600030101010101" pitchFamily="2" charset="-122"/>
                <a:cs typeface="Times New Roman" panose="02020603050405020304" pitchFamily="18" charset="0"/>
              </a:rPr>
              <a:t>Bestyrelsens beretning fremlægges til debat og godkendelse  </a:t>
            </a:r>
            <a:r>
              <a:rPr lang="da-DK" sz="1100" b="1" dirty="0">
                <a:latin typeface="Arial" panose="020B0604020202020204" pitchFamily="34" charset="0"/>
                <a:ea typeface="SimSun" panose="02010600030101010101" pitchFamily="2" charset="-122"/>
                <a:cs typeface="Times New Roman" panose="02020603050405020304" pitchFamily="18" charset="0"/>
              </a:rPr>
              <a:t>- </a:t>
            </a:r>
            <a:r>
              <a:rPr lang="da-DK" sz="1100" dirty="0">
                <a:effectLst/>
                <a:latin typeface="Arial" panose="020B0604020202020204" pitchFamily="34" charset="0"/>
                <a:ea typeface="SimSun" panose="02010600030101010101" pitchFamily="2" charset="-122"/>
                <a:cs typeface="Times New Roman" panose="02020603050405020304" pitchFamily="18" charset="0"/>
              </a:rPr>
              <a:t>Se slide næste side</a:t>
            </a:r>
          </a:p>
          <a:p>
            <a:pPr lvl="1">
              <a:lnSpc>
                <a:spcPct val="100000"/>
              </a:lnSpc>
              <a:spcBef>
                <a:spcPts val="600"/>
              </a:spcBef>
            </a:pPr>
            <a:r>
              <a:rPr lang="da-DK" sz="1100" dirty="0">
                <a:latin typeface="Arial" panose="020B0604020202020204" pitchFamily="34" charset="0"/>
                <a:ea typeface="SimSun" panose="02010600030101010101" pitchFamily="2" charset="-122"/>
                <a:cs typeface="Times New Roman" panose="02020603050405020304" pitchFamily="18" charset="0"/>
              </a:rPr>
              <a:t>Beretning er godkendt af de fremmødte ved general forsamlingen	</a:t>
            </a:r>
          </a:p>
          <a:p>
            <a:pPr marL="342900" indent="-342900">
              <a:lnSpc>
                <a:spcPct val="100000"/>
              </a:lnSpc>
              <a:spcBef>
                <a:spcPts val="600"/>
              </a:spcBef>
              <a:buFont typeface="+mj-lt"/>
              <a:buAutoNum type="arabicPeriod"/>
            </a:pPr>
            <a:r>
              <a:rPr lang="da-DK" sz="1100" b="1" dirty="0">
                <a:effectLst/>
                <a:latin typeface="Arial" panose="020B0604020202020204" pitchFamily="34" charset="0"/>
                <a:ea typeface="SimSun" panose="02010600030101010101" pitchFamily="2" charset="-122"/>
                <a:cs typeface="Times New Roman" panose="02020603050405020304" pitchFamily="18" charset="0"/>
              </a:rPr>
              <a:t>Det reviderede regnskab for det seneste år fremlægges til debat og godkendelse og budget for det kommende år fremlægges til orientering</a:t>
            </a:r>
            <a:endParaRPr lang="en-US" sz="1100" b="1" dirty="0">
              <a:latin typeface="Arial" panose="020B0604020202020204" pitchFamily="34" charset="0"/>
              <a:ea typeface="SimSun" panose="02010600030101010101" pitchFamily="2" charset="-122"/>
              <a:cs typeface="Times New Roman" panose="02020603050405020304" pitchFamily="18" charset="0"/>
            </a:endParaRPr>
          </a:p>
          <a:p>
            <a:pPr lvl="1">
              <a:lnSpc>
                <a:spcPct val="100000"/>
              </a:lnSpc>
              <a:spcBef>
                <a:spcPts val="600"/>
              </a:spcBef>
            </a:pPr>
            <a:r>
              <a:rPr lang="da-DK" sz="1100" dirty="0">
                <a:effectLst/>
                <a:latin typeface="Arial" panose="020B0604020202020204" pitchFamily="34" charset="0"/>
                <a:ea typeface="SimSun" panose="02010600030101010101" pitchFamily="2" charset="-122"/>
                <a:cs typeface="Times New Roman" panose="02020603050405020304" pitchFamily="18" charset="0"/>
              </a:rPr>
              <a:t>Regnskab og budget blev godkendt og underskrevet af Formand, Klasser og revisor</a:t>
            </a:r>
          </a:p>
          <a:p>
            <a:pPr lvl="1">
              <a:lnSpc>
                <a:spcPct val="100000"/>
              </a:lnSpc>
              <a:spcBef>
                <a:spcPts val="600"/>
              </a:spcBef>
            </a:pPr>
            <a:r>
              <a:rPr lang="da-DK" sz="1100" dirty="0">
                <a:latin typeface="Arial" panose="020B0604020202020204" pitchFamily="34" charset="0"/>
                <a:ea typeface="SimSun" panose="02010600030101010101" pitchFamily="2" charset="-122"/>
                <a:cs typeface="Times New Roman" panose="02020603050405020304" pitchFamily="18" charset="0"/>
              </a:rPr>
              <a:t>Vi vil undersøge at flytte foreningskontoen til en anden bank der ikke har så dyrt et administrationsgebyr. Vi overvejer AL og eller en online bank.</a:t>
            </a:r>
            <a:endParaRPr lang="da-DK" sz="1100" dirty="0">
              <a:effectLst/>
              <a:latin typeface="Arial" panose="020B0604020202020204" pitchFamily="34" charset="0"/>
              <a:ea typeface="SimSun" panose="02010600030101010101" pitchFamily="2" charset="-122"/>
              <a:cs typeface="Times New Roman" panose="02020603050405020304" pitchFamily="18" charset="0"/>
            </a:endParaRPr>
          </a:p>
          <a:p>
            <a:pPr marL="342900" indent="-342900">
              <a:lnSpc>
                <a:spcPct val="100000"/>
              </a:lnSpc>
              <a:spcBef>
                <a:spcPts val="600"/>
              </a:spcBef>
              <a:buFont typeface="+mj-lt"/>
              <a:buAutoNum type="arabicPeriod"/>
            </a:pPr>
            <a:r>
              <a:rPr lang="da-DK" sz="1100" b="1" dirty="0">
                <a:effectLst/>
                <a:latin typeface="Arial" panose="020B0604020202020204" pitchFamily="34" charset="0"/>
                <a:ea typeface="SimSun" panose="02010600030101010101" pitchFamily="2" charset="-122"/>
                <a:cs typeface="Times New Roman" panose="02020603050405020304" pitchFamily="18" charset="0"/>
              </a:rPr>
              <a:t>Behandling af indkomne forslag, herunder ændringer ti vedtægterne Valg af bestyrelsesmedlemmer og evt. suppleanter</a:t>
            </a:r>
            <a:endParaRPr lang="en-DK" sz="1100" b="1" dirty="0">
              <a:effectLst/>
              <a:latin typeface="Arial" panose="020B0604020202020204" pitchFamily="34" charset="0"/>
              <a:ea typeface="SimSun" panose="02010600030101010101" pitchFamily="2" charset="-122"/>
              <a:cs typeface="Times New Roman" panose="02020603050405020304" pitchFamily="18" charset="0"/>
            </a:endParaRPr>
          </a:p>
          <a:p>
            <a:pPr lvl="1">
              <a:lnSpc>
                <a:spcPct val="100000"/>
              </a:lnSpc>
              <a:spcBef>
                <a:spcPts val="600"/>
              </a:spcBef>
            </a:pPr>
            <a:r>
              <a:rPr lang="da-DK" sz="1100" dirty="0">
                <a:effectLst/>
                <a:latin typeface="Arial" panose="020B0604020202020204" pitchFamily="34" charset="0"/>
                <a:ea typeface="SimSun" panose="02010600030101010101" pitchFamily="2" charset="-122"/>
                <a:cs typeface="Times New Roman" panose="02020603050405020304" pitchFamily="18" charset="0"/>
              </a:rPr>
              <a:t>Ingen</a:t>
            </a:r>
          </a:p>
          <a:p>
            <a:pPr marL="342900" indent="-342900">
              <a:lnSpc>
                <a:spcPct val="100000"/>
              </a:lnSpc>
              <a:spcBef>
                <a:spcPts val="600"/>
              </a:spcBef>
              <a:buFont typeface="+mj-lt"/>
              <a:buAutoNum type="arabicPeriod"/>
            </a:pPr>
            <a:r>
              <a:rPr lang="da-DK" sz="1100" b="1" dirty="0">
                <a:effectLst/>
                <a:latin typeface="Arial" panose="020B0604020202020204" pitchFamily="34" charset="0"/>
                <a:ea typeface="SimSun" panose="02010600030101010101" pitchFamily="2" charset="-122"/>
                <a:cs typeface="Times New Roman" panose="02020603050405020304" pitchFamily="18" charset="0"/>
              </a:rPr>
              <a:t>Valg af revisor og mindst en revisor suppleant</a:t>
            </a:r>
          </a:p>
          <a:p>
            <a:pPr lvl="1">
              <a:lnSpc>
                <a:spcPct val="100000"/>
              </a:lnSpc>
              <a:spcBef>
                <a:spcPts val="600"/>
              </a:spcBef>
            </a:pPr>
            <a:r>
              <a:rPr lang="da-DK" sz="1100" dirty="0">
                <a:latin typeface="Arial" panose="020B0604020202020204" pitchFamily="34" charset="0"/>
                <a:ea typeface="SimSun" panose="02010600030101010101" pitchFamily="2" charset="-122"/>
                <a:cs typeface="Times New Roman" panose="02020603050405020304" pitchFamily="18" charset="0"/>
              </a:rPr>
              <a:t>Lisa Tange stillede op igen og blev valgt</a:t>
            </a:r>
          </a:p>
          <a:p>
            <a:pPr lvl="1">
              <a:lnSpc>
                <a:spcPct val="100000"/>
              </a:lnSpc>
              <a:spcBef>
                <a:spcPts val="600"/>
              </a:spcBef>
            </a:pPr>
            <a:r>
              <a:rPr lang="da-DK" sz="1100" dirty="0">
                <a:effectLst/>
                <a:latin typeface="Arial" panose="020B0604020202020204" pitchFamily="34" charset="0"/>
                <a:ea typeface="SimSun" panose="02010600030101010101" pitchFamily="2" charset="-122"/>
                <a:cs typeface="Times New Roman" panose="02020603050405020304" pitchFamily="18" charset="0"/>
              </a:rPr>
              <a:t>Lotte </a:t>
            </a:r>
            <a:r>
              <a:rPr lang="da-DK" sz="1100" dirty="0" err="1">
                <a:effectLst/>
                <a:latin typeface="Arial" panose="020B0604020202020204" pitchFamily="34" charset="0"/>
                <a:ea typeface="SimSun" panose="02010600030101010101" pitchFamily="2" charset="-122"/>
                <a:cs typeface="Times New Roman" panose="02020603050405020304" pitchFamily="18" charset="0"/>
              </a:rPr>
              <a:t>Mundus</a:t>
            </a:r>
            <a:r>
              <a:rPr lang="da-DK" sz="1100" dirty="0">
                <a:effectLst/>
                <a:latin typeface="Arial" panose="020B0604020202020204" pitchFamily="34" charset="0"/>
                <a:ea typeface="SimSun" panose="02010600030101010101" pitchFamily="2" charset="-122"/>
                <a:cs typeface="Times New Roman" panose="02020603050405020304" pitchFamily="18" charset="0"/>
              </a:rPr>
              <a:t> stiller op som revisor suppleant, og blev valgt</a:t>
            </a:r>
            <a:endParaRPr lang="en-DK" sz="1100" dirty="0">
              <a:effectLst/>
              <a:latin typeface="Arial" panose="020B0604020202020204" pitchFamily="34" charset="0"/>
              <a:ea typeface="SimSun" panose="02010600030101010101" pitchFamily="2" charset="-122"/>
              <a:cs typeface="Times New Roman" panose="02020603050405020304" pitchFamily="18" charset="0"/>
            </a:endParaRPr>
          </a:p>
          <a:p>
            <a:pPr marL="342900" indent="-342900">
              <a:lnSpc>
                <a:spcPct val="100000"/>
              </a:lnSpc>
              <a:spcBef>
                <a:spcPts val="600"/>
              </a:spcBef>
              <a:buFont typeface="+mj-lt"/>
              <a:buAutoNum type="arabicPeriod"/>
            </a:pPr>
            <a:r>
              <a:rPr lang="da-DK" sz="1100" b="1" dirty="0">
                <a:effectLst/>
                <a:latin typeface="Arial" panose="020B0604020202020204" pitchFamily="34" charset="0"/>
                <a:ea typeface="SimSun" panose="02010600030101010101" pitchFamily="2" charset="-122"/>
                <a:cs typeface="Times New Roman" panose="02020603050405020304" pitchFamily="18" charset="0"/>
              </a:rPr>
              <a:t>Valg af øvrige tillidsposter </a:t>
            </a:r>
          </a:p>
          <a:p>
            <a:pPr lvl="1">
              <a:lnSpc>
                <a:spcPct val="100000"/>
              </a:lnSpc>
              <a:spcBef>
                <a:spcPts val="600"/>
              </a:spcBef>
            </a:pPr>
            <a:r>
              <a:rPr lang="da-DK" sz="1100" dirty="0">
                <a:effectLst/>
                <a:latin typeface="Arial" panose="020B0604020202020204" pitchFamily="34" charset="0"/>
                <a:ea typeface="SimSun" panose="02010600030101010101" pitchFamily="2" charset="-122"/>
                <a:cs typeface="Times New Roman" panose="02020603050405020304" pitchFamily="18" charset="0"/>
              </a:rPr>
              <a:t>Både formand, næstformand og kasser fortsætter i bestyrelsen.</a:t>
            </a:r>
            <a:endParaRPr lang="en-DK" sz="1100" dirty="0">
              <a:effectLst/>
              <a:latin typeface="Arial" panose="020B0604020202020204" pitchFamily="34" charset="0"/>
              <a:ea typeface="SimSun" panose="02010600030101010101" pitchFamily="2" charset="-122"/>
              <a:cs typeface="Times New Roman" panose="02020603050405020304" pitchFamily="18" charset="0"/>
            </a:endParaRPr>
          </a:p>
          <a:p>
            <a:pPr marL="342900" indent="-342900">
              <a:lnSpc>
                <a:spcPct val="100000"/>
              </a:lnSpc>
              <a:spcBef>
                <a:spcPts val="600"/>
              </a:spcBef>
              <a:buFont typeface="+mj-lt"/>
              <a:buAutoNum type="arabicPeriod"/>
            </a:pPr>
            <a:r>
              <a:rPr lang="da-DK" sz="1100" b="1" dirty="0">
                <a:effectLst/>
                <a:latin typeface="Arial" panose="020B0604020202020204" pitchFamily="34" charset="0"/>
                <a:ea typeface="SimSun" panose="02010600030101010101" pitchFamily="2" charset="-122"/>
                <a:cs typeface="Times New Roman" panose="02020603050405020304" pitchFamily="18" charset="0"/>
              </a:rPr>
              <a:t>Behandling af evt. forslag til Landsforeningens ordinære landsmøder (afholdes hvert 3. år) </a:t>
            </a:r>
          </a:p>
          <a:p>
            <a:pPr lvl="1">
              <a:lnSpc>
                <a:spcPct val="100000"/>
              </a:lnSpc>
              <a:spcBef>
                <a:spcPts val="600"/>
              </a:spcBef>
            </a:pPr>
            <a:r>
              <a:rPr lang="da-DK" sz="1100" dirty="0">
                <a:latin typeface="Arial" panose="020B0604020202020204" pitchFamily="34" charset="0"/>
                <a:ea typeface="SimSun" panose="02010600030101010101" pitchFamily="2" charset="-122"/>
                <a:cs typeface="Times New Roman" panose="02020603050405020304" pitchFamily="18" charset="0"/>
              </a:rPr>
              <a:t>I</a:t>
            </a:r>
            <a:r>
              <a:rPr lang="da-DK" sz="1100" dirty="0">
                <a:effectLst/>
                <a:latin typeface="Arial" panose="020B0604020202020204" pitchFamily="34" charset="0"/>
                <a:ea typeface="SimSun" panose="02010600030101010101" pitchFamily="2" charset="-122"/>
                <a:cs typeface="Times New Roman" panose="02020603050405020304" pitchFamily="18" charset="0"/>
              </a:rPr>
              <a:t>ngen</a:t>
            </a:r>
            <a:endParaRPr lang="en-DK" sz="1100" dirty="0">
              <a:effectLst/>
              <a:latin typeface="Arial" panose="020B0604020202020204" pitchFamily="34" charset="0"/>
              <a:ea typeface="SimSun" panose="02010600030101010101" pitchFamily="2" charset="-122"/>
              <a:cs typeface="Times New Roman" panose="02020603050405020304" pitchFamily="18" charset="0"/>
            </a:endParaRPr>
          </a:p>
          <a:p>
            <a:pPr marL="342900" indent="-342900">
              <a:lnSpc>
                <a:spcPct val="100000"/>
              </a:lnSpc>
              <a:spcBef>
                <a:spcPts val="600"/>
              </a:spcBef>
              <a:buFont typeface="+mj-lt"/>
              <a:buAutoNum type="arabicPeriod"/>
            </a:pPr>
            <a:r>
              <a:rPr lang="da-DK" sz="1100" b="1" dirty="0">
                <a:effectLst/>
                <a:latin typeface="Arial" panose="020B0604020202020204" pitchFamily="34" charset="0"/>
                <a:ea typeface="SimSun" panose="02010600030101010101" pitchFamily="2" charset="-122"/>
                <a:cs typeface="Times New Roman" panose="02020603050405020304" pitchFamily="18" charset="0"/>
              </a:rPr>
              <a:t>Eventuelt </a:t>
            </a:r>
            <a:endParaRPr lang="en-DK" sz="1100" b="1" dirty="0">
              <a:effectLst/>
              <a:latin typeface="Arial" panose="020B0604020202020204" pitchFamily="34" charset="0"/>
              <a:ea typeface="SimSun" panose="02010600030101010101" pitchFamily="2" charset="-122"/>
              <a:cs typeface="Times New Roman" panose="02020603050405020304" pitchFamily="18" charset="0"/>
            </a:endParaRPr>
          </a:p>
          <a:p>
            <a:pPr lvl="1">
              <a:lnSpc>
                <a:spcPct val="100000"/>
              </a:lnSpc>
              <a:spcBef>
                <a:spcPts val="600"/>
              </a:spcBef>
            </a:pPr>
            <a:r>
              <a:rPr lang="da-DK" sz="1100" dirty="0">
                <a:latin typeface="Arial" panose="020B0604020202020204" pitchFamily="34" charset="0"/>
                <a:ea typeface="SimSun" panose="02010600030101010101" pitchFamily="2" charset="-122"/>
                <a:cs typeface="Times New Roman" panose="02020603050405020304" pitchFamily="18" charset="0"/>
              </a:rPr>
              <a:t>Lisa foreslog, at vi skulle snakke mere med familievenner ifm. at de har fået fondsmidler til at oprette trivselsgrupper for børn og unge, der er udfordret på deres trivsel på den ene eller anden måde. Og </a:t>
            </a:r>
            <a:r>
              <a:rPr lang="da-DK" sz="1100" dirty="0" err="1">
                <a:latin typeface="Arial" panose="020B0604020202020204" pitchFamily="34" charset="0"/>
                <a:ea typeface="SimSun" panose="02010600030101010101" pitchFamily="2" charset="-122"/>
                <a:cs typeface="Times New Roman" panose="02020603050405020304" pitchFamily="18" charset="0"/>
              </a:rPr>
              <a:t>Bebuddy</a:t>
            </a:r>
            <a:r>
              <a:rPr lang="da-DK" sz="1100" dirty="0">
                <a:latin typeface="Arial" panose="020B0604020202020204" pitchFamily="34" charset="0"/>
                <a:ea typeface="SimSun" panose="02010600030101010101" pitchFamily="2" charset="-122"/>
                <a:cs typeface="Times New Roman" panose="02020603050405020304" pitchFamily="18" charset="0"/>
              </a:rPr>
              <a:t> kunne komme ind under denne paraply fremadrettet.  </a:t>
            </a:r>
          </a:p>
          <a:p>
            <a:pPr lvl="1">
              <a:lnSpc>
                <a:spcPct val="100000"/>
              </a:lnSpc>
              <a:spcBef>
                <a:spcPts val="600"/>
              </a:spcBef>
            </a:pPr>
            <a:r>
              <a:rPr lang="da-DK" sz="1100" dirty="0">
                <a:effectLst/>
                <a:latin typeface="Arial" panose="020B0604020202020204" pitchFamily="34" charset="0"/>
                <a:ea typeface="SimSun" panose="02010600030101010101" pitchFamily="2" charset="-122"/>
                <a:cs typeface="Times New Roman" panose="02020603050405020304" pitchFamily="18" charset="0"/>
              </a:rPr>
              <a:t>Der blev endvidere nævnt at vi mangler et sted, hvor borgere kan se, hvad de</a:t>
            </a:r>
            <a:r>
              <a:rPr lang="da-DK" sz="1100" dirty="0">
                <a:latin typeface="Arial" panose="020B0604020202020204" pitchFamily="34" charset="0"/>
                <a:ea typeface="SimSun" panose="02010600030101010101" pitchFamily="2" charset="-122"/>
                <a:cs typeface="Times New Roman" panose="02020603050405020304" pitchFamily="18" charset="0"/>
              </a:rPr>
              <a:t>r er af sociale tilbud i kommunen. Med inspiration fra Socialkompasset i Århus kommune, er Frivilligcenteret i gang med et lignende projekt, hvor man kan få et overblik, over hvad det er kommunen tilbyder. Vi har også foreningsvejviseren på Helsinge frivilligcenters hjemmeside. </a:t>
            </a:r>
            <a:endParaRPr lang="da-DK" sz="1100" dirty="0">
              <a:effectLst/>
              <a:latin typeface="Arial" panose="020B060402020202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5861452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195A3F-7634-BF4E-F800-6A974289EAC1}"/>
              </a:ext>
            </a:extLst>
          </p:cNvPr>
          <p:cNvGraphicFramePr>
            <a:graphicFrameLocks noChangeAspect="1"/>
          </p:cNvGraphicFramePr>
          <p:nvPr>
            <p:custDataLst>
              <p:tags r:id="rId1"/>
            </p:custDataLst>
            <p:extLst>
              <p:ext uri="{D42A27DB-BD31-4B8C-83A1-F6EECF244321}">
                <p14:modId xmlns:p14="http://schemas.microsoft.com/office/powerpoint/2010/main" val="2214248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A6195A3F-7634-BF4E-F800-6A974289EA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530634-8E41-A40B-C56D-1DB377B2684E}"/>
              </a:ext>
            </a:extLst>
          </p:cNvPr>
          <p:cNvSpPr>
            <a:spLocks noGrp="1"/>
          </p:cNvSpPr>
          <p:nvPr>
            <p:ph type="title"/>
          </p:nvPr>
        </p:nvSpPr>
        <p:spPr/>
        <p:txBody>
          <a:bodyPr vert="horz"/>
          <a:lstStyle/>
          <a:p>
            <a:r>
              <a:rPr lang="en-US" dirty="0"/>
              <a:t>Sind </a:t>
            </a:r>
            <a:r>
              <a:rPr lang="en-US" dirty="0" err="1"/>
              <a:t>Gribskov</a:t>
            </a:r>
            <a:r>
              <a:rPr lang="en-US" dirty="0"/>
              <a:t> </a:t>
            </a:r>
            <a:r>
              <a:rPr lang="en-US" dirty="0" err="1"/>
              <a:t>beretning</a:t>
            </a:r>
            <a:r>
              <a:rPr lang="en-US" dirty="0"/>
              <a:t> 2022</a:t>
            </a:r>
            <a:endParaRPr lang="en-DK" dirty="0"/>
          </a:p>
        </p:txBody>
      </p:sp>
      <p:sp>
        <p:nvSpPr>
          <p:cNvPr id="3" name="Content Placeholder 2">
            <a:extLst>
              <a:ext uri="{FF2B5EF4-FFF2-40B4-BE49-F238E27FC236}">
                <a16:creationId xmlns:a16="http://schemas.microsoft.com/office/drawing/2014/main" id="{3FA01982-86B0-908F-D4F6-B9EFCCEEB12F}"/>
              </a:ext>
            </a:extLst>
          </p:cNvPr>
          <p:cNvSpPr>
            <a:spLocks noGrp="1"/>
          </p:cNvSpPr>
          <p:nvPr>
            <p:ph idx="1"/>
          </p:nvPr>
        </p:nvSpPr>
        <p:spPr/>
        <p:txBody>
          <a:bodyPr/>
          <a:lstStyle/>
          <a:p>
            <a:r>
              <a:rPr lang="en-US" dirty="0"/>
              <a:t>Sind </a:t>
            </a:r>
            <a:r>
              <a:rPr lang="en-US" dirty="0" err="1"/>
              <a:t>Gribskov</a:t>
            </a:r>
            <a:r>
              <a:rPr lang="en-US" dirty="0"/>
              <a:t> </a:t>
            </a:r>
            <a:r>
              <a:rPr lang="en-US" dirty="0" err="1"/>
              <a:t>har</a:t>
            </a:r>
            <a:r>
              <a:rPr lang="en-US" dirty="0"/>
              <a:t> </a:t>
            </a:r>
            <a:r>
              <a:rPr lang="en-US" dirty="0" err="1"/>
              <a:t>igen</a:t>
            </a:r>
            <a:r>
              <a:rPr lang="en-US" dirty="0"/>
              <a:t> I </a:t>
            </a:r>
            <a:r>
              <a:rPr lang="en-US" dirty="0" err="1"/>
              <a:t>år</a:t>
            </a:r>
            <a:r>
              <a:rPr lang="en-US" dirty="0"/>
              <a:t> haft </a:t>
            </a:r>
            <a:r>
              <a:rPr lang="en-US" dirty="0" err="1"/>
              <a:t>deres</a:t>
            </a:r>
            <a:r>
              <a:rPr lang="en-US" dirty="0"/>
              <a:t> </a:t>
            </a:r>
            <a:r>
              <a:rPr lang="en-US" dirty="0" err="1"/>
              <a:t>primære</a:t>
            </a:r>
            <a:r>
              <a:rPr lang="en-US" dirty="0"/>
              <a:t> focus på </a:t>
            </a:r>
            <a:r>
              <a:rPr lang="en-US" dirty="0" err="1"/>
              <a:t>gennemførelse</a:t>
            </a:r>
            <a:r>
              <a:rPr lang="en-US" dirty="0"/>
              <a:t> </a:t>
            </a:r>
            <a:r>
              <a:rPr lang="en-US" dirty="0" err="1"/>
              <a:t>af</a:t>
            </a:r>
            <a:r>
              <a:rPr lang="en-US" dirty="0"/>
              <a:t> </a:t>
            </a:r>
            <a:r>
              <a:rPr lang="en-US" dirty="0" err="1"/>
              <a:t>Bebuddy</a:t>
            </a:r>
            <a:r>
              <a:rPr lang="en-US" dirty="0"/>
              <a:t> </a:t>
            </a:r>
            <a:r>
              <a:rPr lang="en-US" dirty="0" err="1"/>
              <a:t>grupper</a:t>
            </a:r>
            <a:r>
              <a:rPr lang="en-US" dirty="0"/>
              <a:t> for </a:t>
            </a:r>
            <a:r>
              <a:rPr lang="en-US" dirty="0" err="1"/>
              <a:t>søskende</a:t>
            </a:r>
            <a:r>
              <a:rPr lang="en-US" dirty="0"/>
              <a:t> </a:t>
            </a:r>
            <a:r>
              <a:rPr lang="en-US" dirty="0" err="1"/>
              <a:t>til</a:t>
            </a:r>
            <a:r>
              <a:rPr lang="en-US" dirty="0"/>
              <a:t> </a:t>
            </a:r>
            <a:r>
              <a:rPr lang="en-US" dirty="0" err="1"/>
              <a:t>børn</a:t>
            </a:r>
            <a:r>
              <a:rPr lang="en-US" dirty="0"/>
              <a:t>/</a:t>
            </a:r>
            <a:r>
              <a:rPr lang="en-US" dirty="0" err="1"/>
              <a:t>unge</a:t>
            </a:r>
            <a:r>
              <a:rPr lang="en-US" dirty="0"/>
              <a:t> med </a:t>
            </a:r>
            <a:r>
              <a:rPr lang="en-US" dirty="0" err="1"/>
              <a:t>særlige</a:t>
            </a:r>
            <a:r>
              <a:rPr lang="en-US" dirty="0"/>
              <a:t> </a:t>
            </a:r>
            <a:r>
              <a:rPr lang="en-US" dirty="0" err="1"/>
              <a:t>behov</a:t>
            </a:r>
            <a:r>
              <a:rPr lang="en-US" dirty="0"/>
              <a:t>. </a:t>
            </a:r>
          </a:p>
          <a:p>
            <a:r>
              <a:rPr lang="en-US" dirty="0"/>
              <a:t>Der </a:t>
            </a:r>
            <a:r>
              <a:rPr lang="en-US" dirty="0" err="1"/>
              <a:t>blev</a:t>
            </a:r>
            <a:r>
              <a:rPr lang="en-US" dirty="0"/>
              <a:t> </a:t>
            </a:r>
            <a:r>
              <a:rPr lang="en-US" dirty="0" err="1"/>
              <a:t>opstartet</a:t>
            </a:r>
            <a:r>
              <a:rPr lang="en-US" dirty="0"/>
              <a:t> to </a:t>
            </a:r>
            <a:r>
              <a:rPr lang="en-US" dirty="0" err="1"/>
              <a:t>grupper</a:t>
            </a:r>
            <a:r>
              <a:rPr lang="en-US" dirty="0"/>
              <a:t> </a:t>
            </a:r>
            <a:r>
              <a:rPr lang="en-US" dirty="0" err="1"/>
              <a:t>tilbage</a:t>
            </a:r>
            <a:r>
              <a:rPr lang="en-US" dirty="0"/>
              <a:t> </a:t>
            </a:r>
            <a:r>
              <a:rPr lang="en-US" dirty="0" err="1"/>
              <a:t>i</a:t>
            </a:r>
            <a:r>
              <a:rPr lang="en-US" dirty="0"/>
              <a:t> Dec. 2021, der </a:t>
            </a:r>
            <a:r>
              <a:rPr lang="en-US" dirty="0" err="1"/>
              <a:t>blev</a:t>
            </a:r>
            <a:r>
              <a:rPr lang="en-US" dirty="0"/>
              <a:t> </a:t>
            </a:r>
            <a:r>
              <a:rPr lang="en-US" dirty="0" err="1"/>
              <a:t>afsluttet</a:t>
            </a:r>
            <a:r>
              <a:rPr lang="en-US" dirty="0"/>
              <a:t> </a:t>
            </a:r>
            <a:r>
              <a:rPr lang="en-US" dirty="0" err="1"/>
              <a:t>i</a:t>
            </a:r>
            <a:r>
              <a:rPr lang="en-US" dirty="0"/>
              <a:t> </a:t>
            </a:r>
            <a:r>
              <a:rPr lang="en-US" dirty="0" err="1"/>
              <a:t>starten</a:t>
            </a:r>
            <a:r>
              <a:rPr lang="en-US" dirty="0"/>
              <a:t> </a:t>
            </a:r>
            <a:r>
              <a:rPr lang="en-US" dirty="0" err="1"/>
              <a:t>af</a:t>
            </a:r>
            <a:r>
              <a:rPr lang="en-US" dirty="0"/>
              <a:t> </a:t>
            </a:r>
            <a:r>
              <a:rPr lang="en-US" dirty="0" err="1"/>
              <a:t>året</a:t>
            </a:r>
            <a:r>
              <a:rPr lang="en-US" dirty="0"/>
              <a:t> med </a:t>
            </a:r>
            <a:r>
              <a:rPr lang="en-US" dirty="0" err="1"/>
              <a:t>hhv</a:t>
            </a:r>
            <a:r>
              <a:rPr lang="en-US" dirty="0"/>
              <a:t>. 5-8 </a:t>
            </a:r>
            <a:r>
              <a:rPr lang="en-US" dirty="0" err="1"/>
              <a:t>deltagere</a:t>
            </a:r>
            <a:r>
              <a:rPr lang="en-US" dirty="0"/>
              <a:t> </a:t>
            </a:r>
            <a:r>
              <a:rPr lang="en-US" dirty="0" err="1"/>
              <a:t>i</a:t>
            </a:r>
            <a:r>
              <a:rPr lang="en-US" dirty="0"/>
              <a:t> </a:t>
            </a:r>
            <a:r>
              <a:rPr lang="en-US" dirty="0" err="1"/>
              <a:t>hver</a:t>
            </a:r>
            <a:r>
              <a:rPr lang="en-US" dirty="0"/>
              <a:t>. </a:t>
            </a:r>
            <a:r>
              <a:rPr lang="en-US" dirty="0" err="1"/>
              <a:t>Begge</a:t>
            </a:r>
            <a:r>
              <a:rPr lang="en-US" dirty="0"/>
              <a:t> </a:t>
            </a:r>
            <a:r>
              <a:rPr lang="en-US" dirty="0" err="1"/>
              <a:t>grupper</a:t>
            </a:r>
            <a:r>
              <a:rPr lang="en-US" dirty="0"/>
              <a:t> var </a:t>
            </a:r>
            <a:r>
              <a:rPr lang="en-US" dirty="0" err="1"/>
              <a:t>en</a:t>
            </a:r>
            <a:r>
              <a:rPr lang="en-US" dirty="0"/>
              <a:t> success.</a:t>
            </a:r>
          </a:p>
          <a:p>
            <a:r>
              <a:rPr lang="en-US" dirty="0"/>
              <a:t>Der </a:t>
            </a:r>
            <a:r>
              <a:rPr lang="en-US" dirty="0" err="1"/>
              <a:t>blev</a:t>
            </a:r>
            <a:r>
              <a:rPr lang="en-US" dirty="0"/>
              <a:t> </a:t>
            </a:r>
            <a:r>
              <a:rPr lang="en-US" dirty="0" err="1"/>
              <a:t>opstartet</a:t>
            </a:r>
            <a:r>
              <a:rPr lang="en-US" dirty="0"/>
              <a:t> </a:t>
            </a:r>
            <a:r>
              <a:rPr lang="en-US" dirty="0" err="1"/>
              <a:t>yderligere</a:t>
            </a:r>
            <a:r>
              <a:rPr lang="en-US" dirty="0"/>
              <a:t> </a:t>
            </a:r>
            <a:r>
              <a:rPr lang="en-US" dirty="0" err="1"/>
              <a:t>en</a:t>
            </a:r>
            <a:r>
              <a:rPr lang="en-US" dirty="0"/>
              <a:t> </a:t>
            </a:r>
            <a:r>
              <a:rPr lang="en-US" dirty="0" err="1"/>
              <a:t>gruppe</a:t>
            </a:r>
            <a:r>
              <a:rPr lang="en-US" dirty="0"/>
              <a:t> I </a:t>
            </a:r>
            <a:r>
              <a:rPr lang="en-US" dirty="0" err="1"/>
              <a:t>Okt</a:t>
            </a:r>
            <a:r>
              <a:rPr lang="en-US" dirty="0"/>
              <a:t>- dec 2022, </a:t>
            </a:r>
            <a:r>
              <a:rPr lang="en-US" dirty="0" err="1"/>
              <a:t>som</a:t>
            </a:r>
            <a:r>
              <a:rPr lang="en-US" dirty="0"/>
              <a:t> </a:t>
            </a:r>
            <a:r>
              <a:rPr lang="en-US" dirty="0" err="1"/>
              <a:t>blev</a:t>
            </a:r>
            <a:r>
              <a:rPr lang="en-US" dirty="0"/>
              <a:t> </a:t>
            </a:r>
            <a:r>
              <a:rPr lang="en-US" dirty="0" err="1"/>
              <a:t>gennemført</a:t>
            </a:r>
            <a:r>
              <a:rPr lang="en-US" dirty="0"/>
              <a:t> med 5-6 </a:t>
            </a:r>
            <a:r>
              <a:rPr lang="en-US" dirty="0" err="1"/>
              <a:t>børn</a:t>
            </a:r>
            <a:r>
              <a:rPr lang="en-US" dirty="0"/>
              <a:t> og </a:t>
            </a:r>
            <a:r>
              <a:rPr lang="en-US" dirty="0" err="1"/>
              <a:t>denne</a:t>
            </a:r>
            <a:r>
              <a:rPr lang="en-US" dirty="0"/>
              <a:t> var </a:t>
            </a:r>
            <a:r>
              <a:rPr lang="en-US" dirty="0" err="1"/>
              <a:t>ligeledes</a:t>
            </a:r>
            <a:r>
              <a:rPr lang="en-US" dirty="0"/>
              <a:t> </a:t>
            </a:r>
            <a:r>
              <a:rPr lang="en-US" dirty="0" err="1"/>
              <a:t>en</a:t>
            </a:r>
            <a:r>
              <a:rPr lang="en-US" dirty="0"/>
              <a:t> success. </a:t>
            </a:r>
          </a:p>
          <a:p>
            <a:endParaRPr lang="en-DK" dirty="0"/>
          </a:p>
        </p:txBody>
      </p:sp>
    </p:spTree>
    <p:extLst>
      <p:ext uri="{BB962C8B-B14F-4D97-AF65-F5344CB8AC3E}">
        <p14:creationId xmlns:p14="http://schemas.microsoft.com/office/powerpoint/2010/main" val="145497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190413-5C0A-5B26-77A0-778D6E7B3965}"/>
              </a:ext>
            </a:extLst>
          </p:cNvPr>
          <p:cNvGraphicFramePr>
            <a:graphicFrameLocks noChangeAspect="1"/>
          </p:cNvGraphicFramePr>
          <p:nvPr>
            <p:custDataLst>
              <p:tags r:id="rId1"/>
            </p:custDataLst>
            <p:extLst>
              <p:ext uri="{D42A27DB-BD31-4B8C-83A1-F6EECF244321}">
                <p14:modId xmlns:p14="http://schemas.microsoft.com/office/powerpoint/2010/main" val="1158787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7F190413-5C0A-5B26-77A0-778D6E7B39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490214-7AE5-44A2-8F3F-30D761BEFC0D}"/>
              </a:ext>
            </a:extLst>
          </p:cNvPr>
          <p:cNvSpPr>
            <a:spLocks noGrp="1"/>
          </p:cNvSpPr>
          <p:nvPr>
            <p:ph type="title"/>
          </p:nvPr>
        </p:nvSpPr>
        <p:spPr/>
        <p:txBody>
          <a:bodyPr vert="horz">
            <a:normAutofit/>
          </a:bodyPr>
          <a:lstStyle/>
          <a:p>
            <a:r>
              <a:rPr lang="da-DK" sz="3000" dirty="0">
                <a:latin typeface="Arial" panose="020B0604020202020204" pitchFamily="34" charset="0"/>
                <a:cs typeface="Arial" panose="020B0604020202020204" pitchFamily="34" charset="0"/>
              </a:rPr>
              <a:t>Valg af bestyrelsesmedlemmer og evt. suppleanter</a:t>
            </a:r>
            <a:br>
              <a:rPr lang="da-DK" sz="3000" dirty="0">
                <a:latin typeface="Arial" panose="020B0604020202020204" pitchFamily="34" charset="0"/>
                <a:cs typeface="Arial" panose="020B0604020202020204" pitchFamily="34" charset="0"/>
              </a:rPr>
            </a:br>
            <a:r>
              <a:rPr lang="da-DK" sz="2000" dirty="0">
                <a:latin typeface="Arial" panose="020B0604020202020204" pitchFamily="34" charset="0"/>
                <a:cs typeface="Arial" panose="020B0604020202020204" pitchFamily="34" charset="0"/>
              </a:rPr>
              <a:t>GF SIND Gribskov 2023</a:t>
            </a:r>
            <a:endParaRPr lang="en-GB" sz="20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F3083072-FE60-43FA-91CA-E73C3D6B3238}"/>
              </a:ext>
            </a:extLst>
          </p:cNvPr>
          <p:cNvSpPr>
            <a:spLocks noGrp="1"/>
          </p:cNvSpPr>
          <p:nvPr>
            <p:ph idx="1"/>
          </p:nvPr>
        </p:nvSpPr>
        <p:spPr>
          <a:xfrm>
            <a:off x="838200" y="1825625"/>
            <a:ext cx="10083394" cy="4351338"/>
          </a:xfrm>
        </p:spPr>
        <p:txBody>
          <a:bodyPr>
            <a:normAutofit/>
          </a:bodyPr>
          <a:lstStyle/>
          <a:p>
            <a:pPr marL="0" indent="0">
              <a:buNone/>
            </a:pPr>
            <a:r>
              <a:rPr lang="en-GB" sz="2600" b="1" dirty="0" err="1"/>
              <a:t>Nuværende</a:t>
            </a:r>
            <a:r>
              <a:rPr lang="en-GB" sz="2600" b="1" dirty="0"/>
              <a:t> </a:t>
            </a:r>
            <a:r>
              <a:rPr lang="en-GB" sz="2600" b="1" dirty="0" err="1"/>
              <a:t>bestyrelsesmedlemmer</a:t>
            </a:r>
            <a:endParaRPr lang="en-GB" sz="2600" b="1" dirty="0"/>
          </a:p>
          <a:p>
            <a:pPr lvl="1"/>
            <a:r>
              <a:rPr lang="en-GB" dirty="0"/>
              <a:t>Kristina Kreiner – </a:t>
            </a:r>
            <a:r>
              <a:rPr lang="en-GB" dirty="0" err="1"/>
              <a:t>Formand</a:t>
            </a:r>
            <a:r>
              <a:rPr lang="en-GB" dirty="0"/>
              <a:t> 		(</a:t>
            </a:r>
            <a:r>
              <a:rPr lang="en-GB" dirty="0" err="1"/>
              <a:t>Fortsætter</a:t>
            </a:r>
            <a:r>
              <a:rPr lang="en-GB" dirty="0"/>
              <a:t>)</a:t>
            </a:r>
          </a:p>
          <a:p>
            <a:pPr lvl="1"/>
            <a:r>
              <a:rPr lang="en-GB" dirty="0"/>
              <a:t>Per mundus –	</a:t>
            </a:r>
            <a:r>
              <a:rPr lang="en-GB" dirty="0" err="1"/>
              <a:t>Næstformand</a:t>
            </a:r>
            <a:r>
              <a:rPr lang="en-GB" dirty="0"/>
              <a:t>		(</a:t>
            </a:r>
            <a:r>
              <a:rPr lang="en-GB" dirty="0" err="1"/>
              <a:t>Fortsætter</a:t>
            </a:r>
            <a:r>
              <a:rPr lang="en-GB" dirty="0"/>
              <a:t>)</a:t>
            </a:r>
          </a:p>
          <a:p>
            <a:pPr lvl="1"/>
            <a:r>
              <a:rPr lang="en-GB" dirty="0"/>
              <a:t>Kristian Kreiner – </a:t>
            </a:r>
            <a:r>
              <a:rPr lang="en-GB" dirty="0" err="1"/>
              <a:t>Kasser</a:t>
            </a:r>
            <a:r>
              <a:rPr lang="en-GB" dirty="0"/>
              <a:t>		(</a:t>
            </a:r>
            <a:r>
              <a:rPr lang="en-GB" dirty="0" err="1"/>
              <a:t>Fortsætter</a:t>
            </a:r>
            <a:r>
              <a:rPr lang="en-GB" dirty="0"/>
              <a:t>)</a:t>
            </a:r>
          </a:p>
          <a:p>
            <a:pPr lvl="1"/>
            <a:endParaRPr lang="en-GB" dirty="0"/>
          </a:p>
          <a:p>
            <a:pPr marL="0" indent="0">
              <a:buNone/>
            </a:pPr>
            <a:r>
              <a:rPr lang="en-GB" sz="2400" b="1" dirty="0"/>
              <a:t>Ny revisor </a:t>
            </a:r>
          </a:p>
          <a:p>
            <a:pPr lvl="1"/>
            <a:r>
              <a:rPr lang="en-GB" sz="2200" dirty="0"/>
              <a:t>Revisor: Lisa </a:t>
            </a:r>
            <a:r>
              <a:rPr lang="en-GB" sz="2200" dirty="0" err="1"/>
              <a:t>Tange</a:t>
            </a:r>
            <a:r>
              <a:rPr lang="en-GB" sz="2200" dirty="0"/>
              <a:t> </a:t>
            </a:r>
            <a:r>
              <a:rPr lang="en-GB" sz="2000" dirty="0"/>
              <a:t>(</a:t>
            </a:r>
            <a:r>
              <a:rPr lang="en-GB" sz="2000" dirty="0" err="1"/>
              <a:t>genopstiller</a:t>
            </a:r>
            <a:r>
              <a:rPr lang="en-GB" sz="2000" dirty="0"/>
              <a:t> </a:t>
            </a:r>
            <a:r>
              <a:rPr lang="en-GB" sz="2000" dirty="0" err="1"/>
              <a:t>og</a:t>
            </a:r>
            <a:r>
              <a:rPr lang="en-GB" sz="2000" dirty="0"/>
              <a:t> </a:t>
            </a:r>
            <a:r>
              <a:rPr lang="en-GB" sz="2000" dirty="0" err="1"/>
              <a:t>valgt</a:t>
            </a:r>
            <a:r>
              <a:rPr lang="en-GB" sz="2000" dirty="0"/>
              <a:t>)</a:t>
            </a:r>
            <a:endParaRPr lang="en-GB" sz="2200" dirty="0"/>
          </a:p>
          <a:p>
            <a:pPr lvl="1"/>
            <a:r>
              <a:rPr lang="en-GB" sz="2200" dirty="0"/>
              <a:t>Revisor </a:t>
            </a:r>
            <a:r>
              <a:rPr lang="en-GB" sz="2200" dirty="0" err="1"/>
              <a:t>suppleant</a:t>
            </a:r>
            <a:r>
              <a:rPr lang="en-GB" sz="2200" dirty="0"/>
              <a:t>: Lotte Mundus </a:t>
            </a:r>
            <a:r>
              <a:rPr lang="en-GB" sz="2000" dirty="0"/>
              <a:t>(</a:t>
            </a:r>
            <a:r>
              <a:rPr lang="en-GB" sz="2000" dirty="0" err="1"/>
              <a:t>genopstiller</a:t>
            </a:r>
            <a:r>
              <a:rPr lang="en-GB" sz="2000" dirty="0"/>
              <a:t> </a:t>
            </a:r>
            <a:r>
              <a:rPr lang="en-GB" sz="2000" dirty="0" err="1"/>
              <a:t>og</a:t>
            </a:r>
            <a:r>
              <a:rPr lang="en-GB" sz="2000" dirty="0"/>
              <a:t> </a:t>
            </a:r>
            <a:r>
              <a:rPr lang="en-GB" sz="2000" dirty="0" err="1"/>
              <a:t>valgt</a:t>
            </a:r>
            <a:r>
              <a:rPr lang="en-GB" sz="2000" dirty="0"/>
              <a:t>)</a:t>
            </a:r>
            <a:endParaRPr lang="en-GB" sz="2200" dirty="0"/>
          </a:p>
        </p:txBody>
      </p:sp>
    </p:spTree>
    <p:extLst>
      <p:ext uri="{BB962C8B-B14F-4D97-AF65-F5344CB8AC3E}">
        <p14:creationId xmlns:p14="http://schemas.microsoft.com/office/powerpoint/2010/main" val="2541863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3669A-45A8-4C13-A906-8DEDD54DD225}"/>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698DF409-C242-4B9E-979B-F6B6A666615F}"/>
              </a:ext>
            </a:extLst>
          </p:cNvPr>
          <p:cNvSpPr>
            <a:spLocks noGrp="1"/>
          </p:cNvSpPr>
          <p:nvPr>
            <p:ph idx="1"/>
          </p:nvPr>
        </p:nvSpPr>
        <p:spPr/>
        <p:txBody>
          <a:bodyPr/>
          <a:lstStyle/>
          <a:p>
            <a:endParaRPr lang="en-GB"/>
          </a:p>
        </p:txBody>
      </p:sp>
      <p:pic>
        <p:nvPicPr>
          <p:cNvPr id="4" name="Picture 3">
            <a:extLst>
              <a:ext uri="{FF2B5EF4-FFF2-40B4-BE49-F238E27FC236}">
                <a16:creationId xmlns:a16="http://schemas.microsoft.com/office/drawing/2014/main" id="{5BD59E23-C296-4C3B-B87D-D81B8AC9CAF3}"/>
              </a:ext>
            </a:extLst>
          </p:cNvPr>
          <p:cNvPicPr>
            <a:picLocks noChangeAspect="1"/>
          </p:cNvPicPr>
          <p:nvPr/>
        </p:nvPicPr>
        <p:blipFill>
          <a:blip r:embed="rId2"/>
          <a:stretch>
            <a:fillRect/>
          </a:stretch>
        </p:blipFill>
        <p:spPr>
          <a:xfrm>
            <a:off x="0" y="168623"/>
            <a:ext cx="12192000" cy="6520754"/>
          </a:xfrm>
          <a:prstGeom prst="rect">
            <a:avLst/>
          </a:prstGeom>
        </p:spPr>
      </p:pic>
    </p:spTree>
    <p:extLst>
      <p:ext uri="{BB962C8B-B14F-4D97-AF65-F5344CB8AC3E}">
        <p14:creationId xmlns:p14="http://schemas.microsoft.com/office/powerpoint/2010/main" val="3374125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97</Words>
  <Application>Microsoft Office PowerPoint</Application>
  <PresentationFormat>Widescreen</PresentationFormat>
  <Paragraphs>40</Paragraphs>
  <Slides>6</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Calibri</vt:lpstr>
      <vt:lpstr>Calibri Light</vt:lpstr>
      <vt:lpstr>Office Theme</vt:lpstr>
      <vt:lpstr>think-cell Slide</vt:lpstr>
      <vt:lpstr>Referat af  General forsamling 2023 2. marts kl. 17.00 Frivillig centeret, Verstergave 4, 3200 Helsinge  SIND Gribskov lokal forening</vt:lpstr>
      <vt:lpstr>Deltagere GF SIND Gribskov 2022</vt:lpstr>
      <vt:lpstr>Referat af Sind Gribskov GF 2022</vt:lpstr>
      <vt:lpstr>Sind Gribskov beretning 2022</vt:lpstr>
      <vt:lpstr>Valg af bestyrelsesmedlemmer og evt. suppleanter GF SIND Gribskov 2023</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eral forsamling 2021  SIND Gribskov lokal forening</dc:title>
  <dc:creator>Kristina Kreiner</dc:creator>
  <cp:lastModifiedBy>Kristina Kreiner</cp:lastModifiedBy>
  <cp:revision>3</cp:revision>
  <dcterms:created xsi:type="dcterms:W3CDTF">2021-09-14T17:00:23Z</dcterms:created>
  <dcterms:modified xsi:type="dcterms:W3CDTF">2023-05-23T21:5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ff76e1a-9621-4c0c-a789-84379d561f7b_Enabled">
    <vt:lpwstr>true</vt:lpwstr>
  </property>
  <property fmtid="{D5CDD505-2E9C-101B-9397-08002B2CF9AE}" pid="3" name="MSIP_Label_9ff76e1a-9621-4c0c-a789-84379d561f7b_SetDate">
    <vt:lpwstr>2021-09-14T17:00:23Z</vt:lpwstr>
  </property>
  <property fmtid="{D5CDD505-2E9C-101B-9397-08002B2CF9AE}" pid="4" name="MSIP_Label_9ff76e1a-9621-4c0c-a789-84379d561f7b_Method">
    <vt:lpwstr>Standard</vt:lpwstr>
  </property>
  <property fmtid="{D5CDD505-2E9C-101B-9397-08002B2CF9AE}" pid="5" name="MSIP_Label_9ff76e1a-9621-4c0c-a789-84379d561f7b_Name">
    <vt:lpwstr>9ff76e1a-9621-4c0c-a789-84379d561f7b</vt:lpwstr>
  </property>
  <property fmtid="{D5CDD505-2E9C-101B-9397-08002B2CF9AE}" pid="6" name="MSIP_Label_9ff76e1a-9621-4c0c-a789-84379d561f7b_SiteId">
    <vt:lpwstr>e6e68e14-0c3f-413b-abdf-8b1f8f0ade02</vt:lpwstr>
  </property>
  <property fmtid="{D5CDD505-2E9C-101B-9397-08002B2CF9AE}" pid="7" name="MSIP_Label_9ff76e1a-9621-4c0c-a789-84379d561f7b_ActionId">
    <vt:lpwstr>75a45903-4010-4605-94f7-8be32537e86d</vt:lpwstr>
  </property>
  <property fmtid="{D5CDD505-2E9C-101B-9397-08002B2CF9AE}" pid="8" name="MSIP_Label_9ff76e1a-9621-4c0c-a789-84379d561f7b_ContentBits">
    <vt:lpwstr>0</vt:lpwstr>
  </property>
</Properties>
</file>